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624" r:id="rId5"/>
    <p:sldId id="641" r:id="rId6"/>
    <p:sldId id="588" r:id="rId7"/>
    <p:sldId id="627" r:id="rId8"/>
    <p:sldId id="636" r:id="rId9"/>
    <p:sldId id="640" r:id="rId10"/>
    <p:sldId id="572" r:id="rId11"/>
    <p:sldId id="570" r:id="rId12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CB38"/>
    <a:srgbClr val="EBF1E9"/>
    <a:srgbClr val="D5E4D0"/>
    <a:srgbClr val="00A0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499"/>
    <p:restoredTop sz="86709"/>
  </p:normalViewPr>
  <p:slideViewPr>
    <p:cSldViewPr snapToGrid="0" snapToObjects="1">
      <p:cViewPr>
        <p:scale>
          <a:sx n="87" d="100"/>
          <a:sy n="87" d="100"/>
        </p:scale>
        <p:origin x="144" y="336"/>
      </p:cViewPr>
      <p:guideLst/>
    </p:cSldViewPr>
  </p:slideViewPr>
  <p:outlineViewPr>
    <p:cViewPr>
      <p:scale>
        <a:sx n="33" d="100"/>
        <a:sy n="33" d="100"/>
      </p:scale>
      <p:origin x="0" y="-901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as Karlsson" userId="cd27c43c-c746-4088-b742-bf6d3e5564cc" providerId="ADAL" clId="{BDDA0751-CA0B-AB46-B230-232A94AA95DB}"/>
    <pc:docChg chg="undo custSel modSld">
      <pc:chgData name="Jonas Karlsson" userId="cd27c43c-c746-4088-b742-bf6d3e5564cc" providerId="ADAL" clId="{BDDA0751-CA0B-AB46-B230-232A94AA95DB}" dt="2020-10-23T07:51:15.494" v="596" actId="1076"/>
      <pc:docMkLst>
        <pc:docMk/>
      </pc:docMkLst>
      <pc:sldChg chg="addSp modSp mod">
        <pc:chgData name="Jonas Karlsson" userId="cd27c43c-c746-4088-b742-bf6d3e5564cc" providerId="ADAL" clId="{BDDA0751-CA0B-AB46-B230-232A94AA95DB}" dt="2020-10-23T07:51:15.494" v="596" actId="1076"/>
        <pc:sldMkLst>
          <pc:docMk/>
          <pc:sldMk cId="294674623" sldId="570"/>
        </pc:sldMkLst>
        <pc:spChg chg="add mod">
          <ac:chgData name="Jonas Karlsson" userId="cd27c43c-c746-4088-b742-bf6d3e5564cc" providerId="ADAL" clId="{BDDA0751-CA0B-AB46-B230-232A94AA95DB}" dt="2020-10-23T07:51:15.494" v="596" actId="1076"/>
          <ac:spMkLst>
            <pc:docMk/>
            <pc:sldMk cId="294674623" sldId="570"/>
            <ac:spMk id="3" creationId="{C4A81055-7F74-B640-9410-C9F88AA74458}"/>
          </ac:spMkLst>
        </pc:spChg>
      </pc:sldChg>
      <pc:sldChg chg="modSp mod">
        <pc:chgData name="Jonas Karlsson" userId="cd27c43c-c746-4088-b742-bf6d3e5564cc" providerId="ADAL" clId="{BDDA0751-CA0B-AB46-B230-232A94AA95DB}" dt="2020-10-23T07:45:39.613" v="526" actId="113"/>
        <pc:sldMkLst>
          <pc:docMk/>
          <pc:sldMk cId="4243178347" sldId="572"/>
        </pc:sldMkLst>
        <pc:spChg chg="mod">
          <ac:chgData name="Jonas Karlsson" userId="cd27c43c-c746-4088-b742-bf6d3e5564cc" providerId="ADAL" clId="{BDDA0751-CA0B-AB46-B230-232A94AA95DB}" dt="2020-10-23T07:45:39.613" v="526" actId="113"/>
          <ac:spMkLst>
            <pc:docMk/>
            <pc:sldMk cId="4243178347" sldId="572"/>
            <ac:spMk id="2" creationId="{09EE1932-6718-E445-A40B-6F67866AFA20}"/>
          </ac:spMkLst>
        </pc:spChg>
        <pc:spChg chg="mod">
          <ac:chgData name="Jonas Karlsson" userId="cd27c43c-c746-4088-b742-bf6d3e5564cc" providerId="ADAL" clId="{BDDA0751-CA0B-AB46-B230-232A94AA95DB}" dt="2020-10-23T07:36:50.034" v="381" actId="20577"/>
          <ac:spMkLst>
            <pc:docMk/>
            <pc:sldMk cId="4243178347" sldId="572"/>
            <ac:spMk id="3" creationId="{AA951C63-9361-CF45-9533-3596BE4BD6E1}"/>
          </ac:spMkLst>
        </pc:spChg>
      </pc:sldChg>
      <pc:sldChg chg="delSp modSp mod">
        <pc:chgData name="Jonas Karlsson" userId="cd27c43c-c746-4088-b742-bf6d3e5564cc" providerId="ADAL" clId="{BDDA0751-CA0B-AB46-B230-232A94AA95DB}" dt="2020-10-23T07:25:43.186" v="20" actId="14100"/>
        <pc:sldMkLst>
          <pc:docMk/>
          <pc:sldMk cId="851655156" sldId="588"/>
        </pc:sldMkLst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2" creationId="{5A00F0EE-1911-724F-B40C-9CE9483A10CE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10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5:43.186" v="20" actId="14100"/>
          <ac:spMkLst>
            <pc:docMk/>
            <pc:sldMk cId="851655156" sldId="588"/>
            <ac:spMk id="12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21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22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23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24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25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26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34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35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36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37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41" creationId="{C0A0B310-524A-624A-82EF-56C7AF748D1B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43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5:22.009" v="17" actId="14100"/>
          <ac:spMkLst>
            <pc:docMk/>
            <pc:sldMk cId="851655156" sldId="588"/>
            <ac:spMk id="44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45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48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51" creationId="{87C369D0-7AA2-C54D-8C18-B0BB2058DC52}"/>
          </ac:spMkLst>
        </pc:spChg>
        <pc:spChg chg="mod">
          <ac:chgData name="Jonas Karlsson" userId="cd27c43c-c746-4088-b742-bf6d3e5564cc" providerId="ADAL" clId="{BDDA0751-CA0B-AB46-B230-232A94AA95DB}" dt="2020-10-23T07:25:17.521" v="16" actId="14100"/>
          <ac:spMkLst>
            <pc:docMk/>
            <pc:sldMk cId="851655156" sldId="588"/>
            <ac:spMk id="52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58" creationId="{4B2A4104-3CCA-9D45-AD44-B0DA8519C365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59" creationId="{CC98B996-0697-0249-8D19-34C061B486E7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60" creationId="{6F9F7BDD-FEA2-D348-B522-B508EBD45BA3}"/>
          </ac:spMkLst>
        </pc:spChg>
        <pc:spChg chg="mod">
          <ac:chgData name="Jonas Karlsson" userId="cd27c43c-c746-4088-b742-bf6d3e5564cc" providerId="ADAL" clId="{BDDA0751-CA0B-AB46-B230-232A94AA95DB}" dt="2020-10-23T07:24:56.156" v="5" actId="790"/>
          <ac:spMkLst>
            <pc:docMk/>
            <pc:sldMk cId="851655156" sldId="588"/>
            <ac:spMk id="61" creationId="{99A9B673-C776-8C40-8ADE-1E92E8E37CED}"/>
          </ac:spMkLst>
        </pc:spChg>
        <pc:spChg chg="mod">
          <ac:chgData name="Jonas Karlsson" userId="cd27c43c-c746-4088-b742-bf6d3e5564cc" providerId="ADAL" clId="{BDDA0751-CA0B-AB46-B230-232A94AA95DB}" dt="2020-10-23T07:25:35.438" v="18" actId="113"/>
          <ac:spMkLst>
            <pc:docMk/>
            <pc:sldMk cId="851655156" sldId="588"/>
            <ac:spMk id="63" creationId="{00000000-0000-0000-0000-000000000000}"/>
          </ac:spMkLst>
        </pc:spChg>
        <pc:grpChg chg="del">
          <ac:chgData name="Jonas Karlsson" userId="cd27c43c-c746-4088-b742-bf6d3e5564cc" providerId="ADAL" clId="{BDDA0751-CA0B-AB46-B230-232A94AA95DB}" dt="2020-10-23T07:25:39.497" v="19" actId="478"/>
          <ac:grpSpMkLst>
            <pc:docMk/>
            <pc:sldMk cId="851655156" sldId="588"/>
            <ac:grpSpMk id="57" creationId="{28C25A5D-BCE0-8F41-BB2D-C52392F87205}"/>
          </ac:grpSpMkLst>
        </pc:grpChg>
      </pc:sldChg>
      <pc:sldChg chg="modSp mod">
        <pc:chgData name="Jonas Karlsson" userId="cd27c43c-c746-4088-b742-bf6d3e5564cc" providerId="ADAL" clId="{BDDA0751-CA0B-AB46-B230-232A94AA95DB}" dt="2020-10-23T07:23:36.739" v="1" actId="2711"/>
        <pc:sldMkLst>
          <pc:docMk/>
          <pc:sldMk cId="2911844897" sldId="624"/>
        </pc:sldMkLst>
        <pc:spChg chg="mod">
          <ac:chgData name="Jonas Karlsson" userId="cd27c43c-c746-4088-b742-bf6d3e5564cc" providerId="ADAL" clId="{BDDA0751-CA0B-AB46-B230-232A94AA95DB}" dt="2020-10-23T07:23:36.739" v="1" actId="2711"/>
          <ac:spMkLst>
            <pc:docMk/>
            <pc:sldMk cId="2911844897" sldId="624"/>
            <ac:spMk id="2" creationId="{071BE5FF-F6D4-3546-95C5-BB4BFD84D341}"/>
          </ac:spMkLst>
        </pc:spChg>
        <pc:spChg chg="mod">
          <ac:chgData name="Jonas Karlsson" userId="cd27c43c-c746-4088-b742-bf6d3e5564cc" providerId="ADAL" clId="{BDDA0751-CA0B-AB46-B230-232A94AA95DB}" dt="2020-10-23T07:23:36.739" v="1" actId="2711"/>
          <ac:spMkLst>
            <pc:docMk/>
            <pc:sldMk cId="2911844897" sldId="624"/>
            <ac:spMk id="3" creationId="{766A0258-1DDE-184D-BAE5-A43B0AC1CC74}"/>
          </ac:spMkLst>
        </pc:spChg>
      </pc:sldChg>
      <pc:sldChg chg="modSp mod">
        <pc:chgData name="Jonas Karlsson" userId="cd27c43c-c746-4088-b742-bf6d3e5564cc" providerId="ADAL" clId="{BDDA0751-CA0B-AB46-B230-232A94AA95DB}" dt="2020-10-23T07:29:40.695" v="118" actId="20577"/>
        <pc:sldMkLst>
          <pc:docMk/>
          <pc:sldMk cId="3746505635" sldId="627"/>
        </pc:sldMkLst>
        <pc:spChg chg="mod">
          <ac:chgData name="Jonas Karlsson" userId="cd27c43c-c746-4088-b742-bf6d3e5564cc" providerId="ADAL" clId="{BDDA0751-CA0B-AB46-B230-232A94AA95DB}" dt="2020-10-23T07:27:54.098" v="75" actId="20577"/>
          <ac:spMkLst>
            <pc:docMk/>
            <pc:sldMk cId="3746505635" sldId="627"/>
            <ac:spMk id="19" creationId="{12691567-8AB1-B344-86F2-5A790A3603D6}"/>
          </ac:spMkLst>
        </pc:spChg>
        <pc:spChg chg="mod">
          <ac:chgData name="Jonas Karlsson" userId="cd27c43c-c746-4088-b742-bf6d3e5564cc" providerId="ADAL" clId="{BDDA0751-CA0B-AB46-B230-232A94AA95DB}" dt="2020-10-23T07:27:09.197" v="51" actId="20577"/>
          <ac:spMkLst>
            <pc:docMk/>
            <pc:sldMk cId="3746505635" sldId="627"/>
            <ac:spMk id="22" creationId="{7D0E32FC-9519-2440-8FEE-31EEA4A5C4F1}"/>
          </ac:spMkLst>
        </pc:spChg>
        <pc:spChg chg="mod">
          <ac:chgData name="Jonas Karlsson" userId="cd27c43c-c746-4088-b742-bf6d3e5564cc" providerId="ADAL" clId="{BDDA0751-CA0B-AB46-B230-232A94AA95DB}" dt="2020-10-23T07:26:51.876" v="48" actId="14100"/>
          <ac:spMkLst>
            <pc:docMk/>
            <pc:sldMk cId="3746505635" sldId="627"/>
            <ac:spMk id="26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7:38.383" v="68" actId="14100"/>
          <ac:spMkLst>
            <pc:docMk/>
            <pc:sldMk cId="3746505635" sldId="627"/>
            <ac:spMk id="29" creationId="{00000000-0000-0000-0000-000000000000}"/>
          </ac:spMkLst>
        </pc:spChg>
        <pc:spChg chg="mod">
          <ac:chgData name="Jonas Karlsson" userId="cd27c43c-c746-4088-b742-bf6d3e5564cc" providerId="ADAL" clId="{BDDA0751-CA0B-AB46-B230-232A94AA95DB}" dt="2020-10-23T07:27:24.640" v="66" actId="1038"/>
          <ac:spMkLst>
            <pc:docMk/>
            <pc:sldMk cId="3746505635" sldId="627"/>
            <ac:spMk id="34" creationId="{6FB10086-D82E-A44F-8C55-8747B07D0027}"/>
          </ac:spMkLst>
        </pc:spChg>
        <pc:spChg chg="mod">
          <ac:chgData name="Jonas Karlsson" userId="cd27c43c-c746-4088-b742-bf6d3e5564cc" providerId="ADAL" clId="{BDDA0751-CA0B-AB46-B230-232A94AA95DB}" dt="2020-10-23T07:29:00.884" v="109" actId="688"/>
          <ac:spMkLst>
            <pc:docMk/>
            <pc:sldMk cId="3746505635" sldId="627"/>
            <ac:spMk id="36" creationId="{16551BC3-539F-A049-A506-85FA3E33515A}"/>
          </ac:spMkLst>
        </pc:spChg>
        <pc:spChg chg="mod">
          <ac:chgData name="Jonas Karlsson" userId="cd27c43c-c746-4088-b742-bf6d3e5564cc" providerId="ADAL" clId="{BDDA0751-CA0B-AB46-B230-232A94AA95DB}" dt="2020-10-23T07:29:40.695" v="118" actId="20577"/>
          <ac:spMkLst>
            <pc:docMk/>
            <pc:sldMk cId="3746505635" sldId="627"/>
            <ac:spMk id="41" creationId="{DFE61F4D-41D5-CB45-AA2A-1C115E64A0B4}"/>
          </ac:spMkLst>
        </pc:spChg>
        <pc:spChg chg="mod">
          <ac:chgData name="Jonas Karlsson" userId="cd27c43c-c746-4088-b742-bf6d3e5564cc" providerId="ADAL" clId="{BDDA0751-CA0B-AB46-B230-232A94AA95DB}" dt="2020-10-23T07:27:20.147" v="60" actId="14100"/>
          <ac:spMkLst>
            <pc:docMk/>
            <pc:sldMk cId="3746505635" sldId="627"/>
            <ac:spMk id="48" creationId="{CDE32B38-9742-2049-BCBA-9757033398C4}"/>
          </ac:spMkLst>
        </pc:spChg>
        <pc:spChg chg="mod">
          <ac:chgData name="Jonas Karlsson" userId="cd27c43c-c746-4088-b742-bf6d3e5564cc" providerId="ADAL" clId="{BDDA0751-CA0B-AB46-B230-232A94AA95DB}" dt="2020-10-23T07:28:53.065" v="105" actId="1037"/>
          <ac:spMkLst>
            <pc:docMk/>
            <pc:sldMk cId="3746505635" sldId="627"/>
            <ac:spMk id="64" creationId="{FAA4D555-02D8-E448-A492-CDD249CC3FE1}"/>
          </ac:spMkLst>
        </pc:spChg>
        <pc:cxnChg chg="mod">
          <ac:chgData name="Jonas Karlsson" userId="cd27c43c-c746-4088-b742-bf6d3e5564cc" providerId="ADAL" clId="{BDDA0751-CA0B-AB46-B230-232A94AA95DB}" dt="2020-10-23T07:26:51.876" v="48" actId="14100"/>
          <ac:cxnSpMkLst>
            <pc:docMk/>
            <pc:sldMk cId="3746505635" sldId="627"/>
            <ac:cxnSpMk id="12" creationId="{00000000-0000-0000-0000-000000000000}"/>
          </ac:cxnSpMkLst>
        </pc:cxnChg>
        <pc:cxnChg chg="mod">
          <ac:chgData name="Jonas Karlsson" userId="cd27c43c-c746-4088-b742-bf6d3e5564cc" providerId="ADAL" clId="{BDDA0751-CA0B-AB46-B230-232A94AA95DB}" dt="2020-10-23T07:26:51.876" v="48" actId="14100"/>
          <ac:cxnSpMkLst>
            <pc:docMk/>
            <pc:sldMk cId="3746505635" sldId="627"/>
            <ac:cxnSpMk id="15" creationId="{00000000-0000-0000-0000-000000000000}"/>
          </ac:cxnSpMkLst>
        </pc:cxnChg>
        <pc:cxnChg chg="mod">
          <ac:chgData name="Jonas Karlsson" userId="cd27c43c-c746-4088-b742-bf6d3e5564cc" providerId="ADAL" clId="{BDDA0751-CA0B-AB46-B230-232A94AA95DB}" dt="2020-10-23T07:26:51.876" v="48" actId="14100"/>
          <ac:cxnSpMkLst>
            <pc:docMk/>
            <pc:sldMk cId="3746505635" sldId="627"/>
            <ac:cxnSpMk id="18" creationId="{00000000-0000-0000-0000-000000000000}"/>
          </ac:cxnSpMkLst>
        </pc:cxnChg>
        <pc:cxnChg chg="mod">
          <ac:chgData name="Jonas Karlsson" userId="cd27c43c-c746-4088-b742-bf6d3e5564cc" providerId="ADAL" clId="{BDDA0751-CA0B-AB46-B230-232A94AA95DB}" dt="2020-10-23T07:27:51.790" v="74" actId="14100"/>
          <ac:cxnSpMkLst>
            <pc:docMk/>
            <pc:sldMk cId="3746505635" sldId="627"/>
            <ac:cxnSpMk id="20" creationId="{474DC751-301F-6044-8B15-D503824AEB88}"/>
          </ac:cxnSpMkLst>
        </pc:cxnChg>
        <pc:cxnChg chg="mod">
          <ac:chgData name="Jonas Karlsson" userId="cd27c43c-c746-4088-b742-bf6d3e5564cc" providerId="ADAL" clId="{BDDA0751-CA0B-AB46-B230-232A94AA95DB}" dt="2020-10-23T07:27:29.675" v="67" actId="14100"/>
          <ac:cxnSpMkLst>
            <pc:docMk/>
            <pc:sldMk cId="3746505635" sldId="627"/>
            <ac:cxnSpMk id="27" creationId="{0304C245-12A7-EA49-93EE-CCEB17B0CC4B}"/>
          </ac:cxnSpMkLst>
        </pc:cxnChg>
        <pc:cxnChg chg="mod">
          <ac:chgData name="Jonas Karlsson" userId="cd27c43c-c746-4088-b742-bf6d3e5564cc" providerId="ADAL" clId="{BDDA0751-CA0B-AB46-B230-232A94AA95DB}" dt="2020-10-23T07:26:51.876" v="48" actId="14100"/>
          <ac:cxnSpMkLst>
            <pc:docMk/>
            <pc:sldMk cId="3746505635" sldId="627"/>
            <ac:cxnSpMk id="39" creationId="{07CBD422-2199-7A40-8E08-0DA692356BDC}"/>
          </ac:cxnSpMkLst>
        </pc:cxnChg>
        <pc:cxnChg chg="mod">
          <ac:chgData name="Jonas Karlsson" userId="cd27c43c-c746-4088-b742-bf6d3e5564cc" providerId="ADAL" clId="{BDDA0751-CA0B-AB46-B230-232A94AA95DB}" dt="2020-10-23T07:26:51.876" v="48" actId="14100"/>
          <ac:cxnSpMkLst>
            <pc:docMk/>
            <pc:sldMk cId="3746505635" sldId="627"/>
            <ac:cxnSpMk id="49" creationId="{09579549-A1B9-104B-A0EB-754B1A2113C3}"/>
          </ac:cxnSpMkLst>
        </pc:cxnChg>
        <pc:cxnChg chg="mod">
          <ac:chgData name="Jonas Karlsson" userId="cd27c43c-c746-4088-b742-bf6d3e5564cc" providerId="ADAL" clId="{BDDA0751-CA0B-AB46-B230-232A94AA95DB}" dt="2020-10-23T07:26:51.876" v="48" actId="14100"/>
          <ac:cxnSpMkLst>
            <pc:docMk/>
            <pc:sldMk cId="3746505635" sldId="627"/>
            <ac:cxnSpMk id="59" creationId="{FFCE02F1-D283-404E-813D-9254C6A815DE}"/>
          </ac:cxnSpMkLst>
        </pc:cxnChg>
        <pc:cxnChg chg="mod">
          <ac:chgData name="Jonas Karlsson" userId="cd27c43c-c746-4088-b742-bf6d3e5564cc" providerId="ADAL" clId="{BDDA0751-CA0B-AB46-B230-232A94AA95DB}" dt="2020-10-23T07:26:51.876" v="48" actId="14100"/>
          <ac:cxnSpMkLst>
            <pc:docMk/>
            <pc:sldMk cId="3746505635" sldId="627"/>
            <ac:cxnSpMk id="66" creationId="{9FF5A440-2324-8E4E-92F3-AF0A0FE98AA5}"/>
          </ac:cxnSpMkLst>
        </pc:cxnChg>
      </pc:sldChg>
      <pc:sldChg chg="delSp modSp mod">
        <pc:chgData name="Jonas Karlsson" userId="cd27c43c-c746-4088-b742-bf6d3e5564cc" providerId="ADAL" clId="{BDDA0751-CA0B-AB46-B230-232A94AA95DB}" dt="2020-10-23T07:32:24.320" v="149" actId="478"/>
        <pc:sldMkLst>
          <pc:docMk/>
          <pc:sldMk cId="592057325" sldId="636"/>
        </pc:sldMkLst>
        <pc:spChg chg="mod">
          <ac:chgData name="Jonas Karlsson" userId="cd27c43c-c746-4088-b742-bf6d3e5564cc" providerId="ADAL" clId="{BDDA0751-CA0B-AB46-B230-232A94AA95DB}" dt="2020-10-23T07:32:17.618" v="148" actId="113"/>
          <ac:spMkLst>
            <pc:docMk/>
            <pc:sldMk cId="592057325" sldId="636"/>
            <ac:spMk id="3" creationId="{48DB755C-59AF-AB48-BA96-C8F66E04416F}"/>
          </ac:spMkLst>
        </pc:spChg>
        <pc:spChg chg="mod">
          <ac:chgData name="Jonas Karlsson" userId="cd27c43c-c746-4088-b742-bf6d3e5564cc" providerId="ADAL" clId="{BDDA0751-CA0B-AB46-B230-232A94AA95DB}" dt="2020-10-23T07:29:27.347" v="111" actId="2711"/>
          <ac:spMkLst>
            <pc:docMk/>
            <pc:sldMk cId="592057325" sldId="636"/>
            <ac:spMk id="9" creationId="{6FA04D52-3DD6-104E-8B05-7C8625F7E472}"/>
          </ac:spMkLst>
        </pc:spChg>
        <pc:spChg chg="mod">
          <ac:chgData name="Jonas Karlsson" userId="cd27c43c-c746-4088-b742-bf6d3e5564cc" providerId="ADAL" clId="{BDDA0751-CA0B-AB46-B230-232A94AA95DB}" dt="2020-10-23T07:31:22.594" v="144" actId="14100"/>
          <ac:spMkLst>
            <pc:docMk/>
            <pc:sldMk cId="592057325" sldId="636"/>
            <ac:spMk id="11" creationId="{484EAF41-3493-D249-ACCF-351A3BBBFECF}"/>
          </ac:spMkLst>
        </pc:spChg>
        <pc:spChg chg="del mod">
          <ac:chgData name="Jonas Karlsson" userId="cd27c43c-c746-4088-b742-bf6d3e5564cc" providerId="ADAL" clId="{BDDA0751-CA0B-AB46-B230-232A94AA95DB}" dt="2020-10-23T07:32:24.320" v="149" actId="478"/>
          <ac:spMkLst>
            <pc:docMk/>
            <pc:sldMk cId="592057325" sldId="636"/>
            <ac:spMk id="12" creationId="{E5CB47E6-7516-1F41-9652-512257901536}"/>
          </ac:spMkLst>
        </pc:spChg>
        <pc:spChg chg="mod">
          <ac:chgData name="Jonas Karlsson" userId="cd27c43c-c746-4088-b742-bf6d3e5564cc" providerId="ADAL" clId="{BDDA0751-CA0B-AB46-B230-232A94AA95DB}" dt="2020-10-23T07:29:27.347" v="111" actId="2711"/>
          <ac:spMkLst>
            <pc:docMk/>
            <pc:sldMk cId="592057325" sldId="636"/>
            <ac:spMk id="13" creationId="{C92D1306-B3E0-D44E-9DC2-B970AAAA8030}"/>
          </ac:spMkLst>
        </pc:spChg>
      </pc:sldChg>
      <pc:sldChg chg="modSp">
        <pc:chgData name="Jonas Karlsson" userId="cd27c43c-c746-4088-b742-bf6d3e5564cc" providerId="ADAL" clId="{BDDA0751-CA0B-AB46-B230-232A94AA95DB}" dt="2020-10-23T07:32:05.943" v="147" actId="2711"/>
        <pc:sldMkLst>
          <pc:docMk/>
          <pc:sldMk cId="2701412698" sldId="640"/>
        </pc:sldMkLst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2" creationId="{332E0858-DBE6-3842-951D-B0152D927150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" creationId="{6FD81CFD-D9C7-7744-8B5C-E891A28CBDF8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7" creationId="{B92BCF3C-2CB0-014A-AE11-CAD08B4DC28A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17" creationId="{09AA8E12-C607-C946-BCD4-94ECC40EBB1E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18" creationId="{11C08910-2C5F-EA4F-BA70-38430B2555E8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19" creationId="{F684DBCD-F5EA-B849-8901-B42770E6E19F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20" creationId="{20DB6944-29F2-3F46-AC95-85A77D7A3478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21" creationId="{3D1491FF-4FFA-AA4C-8A2C-D5355EB252CB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23" creationId="{005F5531-D05F-174C-B1D9-BB6E8CF5BFFB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24" creationId="{744CEE5A-6F87-2F4D-8A6D-9AC6F6F845B5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25" creationId="{10E2CA15-8B05-194D-B2B4-F5E7516CA5DB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26" creationId="{4B361757-59CC-DE4D-96EC-BCAEC51DF949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27" creationId="{6D864701-3ADC-3742-93A7-2C6EA7C79F6D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28" creationId="{4047F151-10FB-D349-83F8-6B32B57EE08B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29" creationId="{88D3D9DD-A67A-F947-87AF-5C7B30FD4630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0" creationId="{D1390BD7-C5C6-174F-A6C2-44AD2A942597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1" creationId="{9601CF77-BE09-3A42-94D2-62D6CA8506A8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2" creationId="{34098BE9-AAB2-DF4C-B726-70DD5824FD21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3" creationId="{4DC6F248-0933-7647-BE27-B2C5D055B4A3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4" creationId="{DB497903-1FF2-4643-A15D-A3ABCC25167D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5" creationId="{3FAEB67E-53EC-464E-B289-9925FFF8593E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6" creationId="{D0A0CB8D-BA53-A44E-AE4E-27B8E1ADD259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7" creationId="{DD7CF8E6-D221-224E-AA25-CBC9445BB6DC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8" creationId="{A127BE20-B654-9743-91A2-C5A45D37C7E7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39" creationId="{DB08EDF6-9C59-A243-9761-11D658DD2F37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47" creationId="{48861B3C-E919-9047-AC75-3596272A68FA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48" creationId="{1014A292-0264-4742-B84B-6C043B133FEB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49" creationId="{800A323F-A59D-EC48-B447-78AFDD28C51E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50" creationId="{7BED3249-3667-F04F-A4E1-56259BE0A5E0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51" creationId="{F36B847E-DA31-F342-949B-FDEC45788CE3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52" creationId="{3DA71BB9-76E9-004F-92F5-1FE4EA771146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53" creationId="{C66922DF-A51D-B742-A299-F4F05D42CEFE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54" creationId="{3990F0D2-EF9B-EC43-9A15-169A21F78683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55" creationId="{14727A40-A214-4544-AE89-2B98C288E07F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56" creationId="{C5E3ACE1-B9DF-3B48-9219-4D16CD6260F7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57" creationId="{8C3D765E-46B7-CF47-A8EC-F6F10B889D89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58" creationId="{5DA8FF20-2DCF-2E4A-BA91-FB9D446B8C1A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59" creationId="{19EB2176-DEB3-1746-B623-EBA73CCD9174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60" creationId="{8F0A385D-E14C-5D44-A848-C7584521A1AD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61" creationId="{3716B448-0089-2F4D-9AB0-1D654CF622B2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62" creationId="{F75632CB-3109-A24D-AF50-A4283C0759E3}"/>
          </ac:spMkLst>
        </pc:spChg>
        <pc:spChg chg="mod">
          <ac:chgData name="Jonas Karlsson" userId="cd27c43c-c746-4088-b742-bf6d3e5564cc" providerId="ADAL" clId="{BDDA0751-CA0B-AB46-B230-232A94AA95DB}" dt="2020-10-23T07:32:05.943" v="147" actId="2711"/>
          <ac:spMkLst>
            <pc:docMk/>
            <pc:sldMk cId="2701412698" sldId="640"/>
            <ac:spMk id="64" creationId="{F41D89B8-719F-934B-8AFE-9015F29100C0}"/>
          </ac:spMkLst>
        </pc:spChg>
        <pc:graphicFrameChg chg="mod">
          <ac:chgData name="Jonas Karlsson" userId="cd27c43c-c746-4088-b742-bf6d3e5564cc" providerId="ADAL" clId="{BDDA0751-CA0B-AB46-B230-232A94AA95DB}" dt="2020-10-23T07:32:05.943" v="147" actId="2711"/>
          <ac:graphicFrameMkLst>
            <pc:docMk/>
            <pc:sldMk cId="2701412698" sldId="640"/>
            <ac:graphicFrameMk id="16" creationId="{70B7DACC-A77E-4345-B399-CB2C6030D62A}"/>
          </ac:graphicFrameMkLst>
        </pc:graphicFrameChg>
        <pc:graphicFrameChg chg="mod">
          <ac:chgData name="Jonas Karlsson" userId="cd27c43c-c746-4088-b742-bf6d3e5564cc" providerId="ADAL" clId="{BDDA0751-CA0B-AB46-B230-232A94AA95DB}" dt="2020-10-23T07:32:05.943" v="147" actId="2711"/>
          <ac:graphicFrameMkLst>
            <pc:docMk/>
            <pc:sldMk cId="2701412698" sldId="640"/>
            <ac:graphicFrameMk id="46" creationId="{005F2C06-FF0B-3340-B992-60B0DC04186C}"/>
          </ac:graphicFrameMkLst>
        </pc:graphicFrame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10" creationId="{C737C220-BE69-5848-8D9F-DE94C399FEC4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11" creationId="{9241C91D-3451-E548-A5FF-5055D26F3C7D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12" creationId="{A0899F7B-290A-F04A-939D-475FDA25EC99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13" creationId="{0766248A-E395-F541-A2C2-75D603E13BBE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14" creationId="{D7C688F2-EA64-1B41-8406-61D631D57EB7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15" creationId="{C6B3AA17-7376-B645-8048-E1FF6844D7D0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40" creationId="{125E2597-22B7-B64A-8572-02890B7FE9EE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41" creationId="{0BC2E3CA-E548-AC4F-8B69-6A8CE66B107E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42" creationId="{7A1FE3F5-4851-A84B-8FA5-6170656594E8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43" creationId="{6A6A0780-AC86-B941-8EB6-8B158F9F0A2B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44" creationId="{5B455E04-988E-9F4F-82E7-9CE2A76CB567}"/>
          </ac:cxnSpMkLst>
        </pc:cxnChg>
        <pc:cxnChg chg="mod">
          <ac:chgData name="Jonas Karlsson" userId="cd27c43c-c746-4088-b742-bf6d3e5564cc" providerId="ADAL" clId="{BDDA0751-CA0B-AB46-B230-232A94AA95DB}" dt="2020-10-23T07:32:05.943" v="147" actId="2711"/>
          <ac:cxnSpMkLst>
            <pc:docMk/>
            <pc:sldMk cId="2701412698" sldId="640"/>
            <ac:cxnSpMk id="45" creationId="{B3F53FFC-9B35-234C-9C3D-4B63C232B8D7}"/>
          </ac:cxnSpMkLst>
        </pc:cxnChg>
      </pc:sldChg>
      <pc:sldChg chg="addSp delSp modSp mod">
        <pc:chgData name="Jonas Karlsson" userId="cd27c43c-c746-4088-b742-bf6d3e5564cc" providerId="ADAL" clId="{BDDA0751-CA0B-AB46-B230-232A94AA95DB}" dt="2020-10-23T07:41:40.396" v="523" actId="1038"/>
        <pc:sldMkLst>
          <pc:docMk/>
          <pc:sldMk cId="1111027410" sldId="641"/>
        </pc:sldMkLst>
        <pc:spChg chg="add mod">
          <ac:chgData name="Jonas Karlsson" userId="cd27c43c-c746-4088-b742-bf6d3e5564cc" providerId="ADAL" clId="{BDDA0751-CA0B-AB46-B230-232A94AA95DB}" dt="2020-10-23T07:40:03.757" v="508" actId="1037"/>
          <ac:spMkLst>
            <pc:docMk/>
            <pc:sldMk cId="1111027410" sldId="641"/>
            <ac:spMk id="13" creationId="{020E2D4E-1FE3-DF4C-9F5E-63CC107AA380}"/>
          </ac:spMkLst>
        </pc:spChg>
        <pc:spChg chg="mod">
          <ac:chgData name="Jonas Karlsson" userId="cd27c43c-c746-4088-b742-bf6d3e5564cc" providerId="ADAL" clId="{BDDA0751-CA0B-AB46-B230-232A94AA95DB}" dt="2020-10-23T07:41:36.678" v="519" actId="1038"/>
          <ac:spMkLst>
            <pc:docMk/>
            <pc:sldMk cId="1111027410" sldId="641"/>
            <ac:spMk id="14" creationId="{DAB50668-BF17-CC42-995E-B460C127A700}"/>
          </ac:spMkLst>
        </pc:spChg>
        <pc:spChg chg="add mod">
          <ac:chgData name="Jonas Karlsson" userId="cd27c43c-c746-4088-b742-bf6d3e5564cc" providerId="ADAL" clId="{BDDA0751-CA0B-AB46-B230-232A94AA95DB}" dt="2020-10-23T07:39:48.101" v="504" actId="1036"/>
          <ac:spMkLst>
            <pc:docMk/>
            <pc:sldMk cId="1111027410" sldId="641"/>
            <ac:spMk id="15" creationId="{6C429E58-C639-5949-A091-9F18A4A29C50}"/>
          </ac:spMkLst>
        </pc:spChg>
        <pc:spChg chg="add del mod">
          <ac:chgData name="Jonas Karlsson" userId="cd27c43c-c746-4088-b742-bf6d3e5564cc" providerId="ADAL" clId="{BDDA0751-CA0B-AB46-B230-232A94AA95DB}" dt="2020-10-23T07:38:05.558" v="413" actId="478"/>
          <ac:spMkLst>
            <pc:docMk/>
            <pc:sldMk cId="1111027410" sldId="641"/>
            <ac:spMk id="16" creationId="{609D92B9-4FC0-8A4C-A505-EE871DF2ACC1}"/>
          </ac:spMkLst>
        </pc:spChg>
        <pc:spChg chg="add mod">
          <ac:chgData name="Jonas Karlsson" userId="cd27c43c-c746-4088-b742-bf6d3e5564cc" providerId="ADAL" clId="{BDDA0751-CA0B-AB46-B230-232A94AA95DB}" dt="2020-10-23T07:41:40.396" v="523" actId="1038"/>
          <ac:spMkLst>
            <pc:docMk/>
            <pc:sldMk cId="1111027410" sldId="641"/>
            <ac:spMk id="18" creationId="{2784C7BF-A509-754D-8401-27A15E93039B}"/>
          </ac:spMkLst>
        </pc:spChg>
        <pc:spChg chg="mod">
          <ac:chgData name="Jonas Karlsson" userId="cd27c43c-c746-4088-b742-bf6d3e5564cc" providerId="ADAL" clId="{BDDA0751-CA0B-AB46-B230-232A94AA95DB}" dt="2020-10-23T07:24:27.766" v="3" actId="2711"/>
          <ac:spMkLst>
            <pc:docMk/>
            <pc:sldMk cId="1111027410" sldId="641"/>
            <ac:spMk id="25" creationId="{B86DD90F-5684-1A46-8433-11D46CAA5E13}"/>
          </ac:spMkLst>
        </pc:spChg>
        <pc:spChg chg="mod">
          <ac:chgData name="Jonas Karlsson" userId="cd27c43c-c746-4088-b742-bf6d3e5564cc" providerId="ADAL" clId="{BDDA0751-CA0B-AB46-B230-232A94AA95DB}" dt="2020-10-23T07:24:27.766" v="3" actId="2711"/>
          <ac:spMkLst>
            <pc:docMk/>
            <pc:sldMk cId="1111027410" sldId="641"/>
            <ac:spMk id="27" creationId="{886A1721-7080-BF45-9C44-A41FE46E01C8}"/>
          </ac:spMkLst>
        </pc:spChg>
        <pc:spChg chg="mod">
          <ac:chgData name="Jonas Karlsson" userId="cd27c43c-c746-4088-b742-bf6d3e5564cc" providerId="ADAL" clId="{BDDA0751-CA0B-AB46-B230-232A94AA95DB}" dt="2020-10-23T07:24:27.766" v="3" actId="2711"/>
          <ac:spMkLst>
            <pc:docMk/>
            <pc:sldMk cId="1111027410" sldId="641"/>
            <ac:spMk id="30" creationId="{F5E62B0F-D54E-F340-B9DE-2DF2526BCE92}"/>
          </ac:spMkLst>
        </pc:spChg>
        <pc:spChg chg="mod">
          <ac:chgData name="Jonas Karlsson" userId="cd27c43c-c746-4088-b742-bf6d3e5564cc" providerId="ADAL" clId="{BDDA0751-CA0B-AB46-B230-232A94AA95DB}" dt="2020-10-23T07:41:25.027" v="514" actId="20577"/>
          <ac:spMkLst>
            <pc:docMk/>
            <pc:sldMk cId="1111027410" sldId="641"/>
            <ac:spMk id="36" creationId="{57EB1F8B-1C53-D744-AB88-6FCBCA893025}"/>
          </ac:spMkLst>
        </pc:spChg>
        <pc:picChg chg="mod">
          <ac:chgData name="Jonas Karlsson" userId="cd27c43c-c746-4088-b742-bf6d3e5564cc" providerId="ADAL" clId="{BDDA0751-CA0B-AB46-B230-232A94AA95DB}" dt="2020-10-23T07:38:12.185" v="416" actId="1076"/>
          <ac:picMkLst>
            <pc:docMk/>
            <pc:sldMk cId="1111027410" sldId="641"/>
            <ac:picMk id="19" creationId="{32E60FD8-D4EB-0446-B884-3460C3EAC1C9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kalkylblad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kalkylblad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667672804105039E-2"/>
          <c:y val="3.4000000000000002E-2"/>
          <c:w val="0.90763658315725926"/>
          <c:h val="0.9350000000000000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9F4-7A42-9489-289AC9184AA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9F4-7A42-9489-289AC9184AA0}"/>
              </c:ext>
            </c:extLst>
          </c:dPt>
          <c:dPt>
            <c:idx val="6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9F4-7A42-9489-289AC9184AA0}"/>
              </c:ext>
            </c:extLst>
          </c:dPt>
          <c:dLbls>
            <c:dLbl>
              <c:idx val="0"/>
              <c:layout>
                <c:manualLayout>
                  <c:x val="0"/>
                  <c:y val="-0.179499999999999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9F4-7A42-9489-289AC9184AA0}"/>
                </c:ext>
              </c:extLst>
            </c:dLbl>
            <c:dLbl>
              <c:idx val="6"/>
              <c:layout>
                <c:manualLayout>
                  <c:x val="0"/>
                  <c:y val="-0.16350000000000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9F4-7A42-9489-289AC9184A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-25.28</c:v>
                </c:pt>
                <c:pt idx="1">
                  <c:v>-25.28</c:v>
                </c:pt>
                <c:pt idx="2">
                  <c:v>-27.19</c:v>
                </c:pt>
                <c:pt idx="3">
                  <c:v>-28.82</c:v>
                </c:pt>
                <c:pt idx="4">
                  <c:v>19.11</c:v>
                </c:pt>
                <c:pt idx="5">
                  <c:v>19.11</c:v>
                </c:pt>
                <c:pt idx="6">
                  <c:v>2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9F4-7A42-9489-289AC9184AA0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09F4-7A42-9489-289AC9184AA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09F4-7A42-9489-289AC9184AA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09F4-7A42-9489-289AC9184AA0}"/>
              </c:ext>
            </c:extLst>
          </c:dPt>
          <c:dLbls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09F4-7A42-9489-289AC9184AA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1">
                  <c:v>-1.9100000000000001</c:v>
                </c:pt>
                <c:pt idx="2">
                  <c:v>-1.629999999999999</c:v>
                </c:pt>
                <c:pt idx="3">
                  <c:v>-10.369999999999997</c:v>
                </c:pt>
                <c:pt idx="4">
                  <c:v>-39.19</c:v>
                </c:pt>
                <c:pt idx="5">
                  <c:v>3.3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09F4-7A42-9489-289AC9184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3838304"/>
        <c:axId val="1"/>
      </c:barChart>
      <c:catAx>
        <c:axId val="8138383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-55"/>
        </c:scaling>
        <c:delete val="1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crossAx val="813838304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667672804105039E-2"/>
          <c:y val="3.1093279839518557E-2"/>
          <c:w val="0.90763658315725926"/>
          <c:h val="0.9378134403209629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C58-A244-811E-9F770711E7F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C58-A244-811E-9F770711E7FD}"/>
              </c:ext>
            </c:extLst>
          </c:dPt>
          <c:dPt>
            <c:idx val="6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C58-A244-811E-9F770711E7FD}"/>
              </c:ext>
            </c:extLst>
          </c:dPt>
          <c:dLbls>
            <c:dLbl>
              <c:idx val="0"/>
              <c:layout>
                <c:manualLayout>
                  <c:x val="0"/>
                  <c:y val="-0.252758274824473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C58-A244-811E-9F770711E7FD}"/>
                </c:ext>
              </c:extLst>
            </c:dLbl>
            <c:dLbl>
              <c:idx val="6"/>
              <c:layout>
                <c:manualLayout>
                  <c:x val="0"/>
                  <c:y val="-9.378134403209628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C58-A244-811E-9F770711E7F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-37.694000000000003</c:v>
                </c:pt>
                <c:pt idx="1">
                  <c:v>-37.694000000000003</c:v>
                </c:pt>
                <c:pt idx="2">
                  <c:v>-40.569000000000003</c:v>
                </c:pt>
                <c:pt idx="3">
                  <c:v>-42.997</c:v>
                </c:pt>
                <c:pt idx="4">
                  <c:v>5.597999999999999</c:v>
                </c:pt>
                <c:pt idx="5">
                  <c:v>5.597999999999999</c:v>
                </c:pt>
                <c:pt idx="6">
                  <c:v>10.507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C58-A244-811E-9F770711E7FD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2C58-A244-811E-9F770711E7F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2C58-A244-811E-9F770711E7F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2C58-A244-811E-9F770711E7FD}"/>
              </c:ext>
            </c:extLst>
          </c:dPt>
          <c:dLbls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C58-A244-811E-9F770711E7F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1">
                  <c:v>-2.875</c:v>
                </c:pt>
                <c:pt idx="2">
                  <c:v>-2.4279999999999973</c:v>
                </c:pt>
                <c:pt idx="3">
                  <c:v>-9.8049999999999997</c:v>
                </c:pt>
                <c:pt idx="4">
                  <c:v>-52.802</c:v>
                </c:pt>
                <c:pt idx="5">
                  <c:v>4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C58-A244-811E-9F770711E7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75263880"/>
        <c:axId val="1"/>
      </c:barChart>
      <c:catAx>
        <c:axId val="3752638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-55"/>
        </c:scaling>
        <c:delete val="1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crossAx val="375263880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AE586C-C489-8A46-88E0-6AAF7CEA6D8A}" type="datetimeFigureOut">
              <a:rPr lang="sv-SE" smtClean="0"/>
              <a:t>2020-10-23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EDB401-A79A-B14D-9E69-4EB0648AA91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469082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990D3A-C0B5-D04A-83E0-4675C76D3E5C}" type="datetimeFigureOut">
              <a:rPr lang="sv-SE" smtClean="0"/>
              <a:t>2020-10-2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3901F2-F2D9-B649-80CA-A7B3BC6BB4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86444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3901F2-F2D9-B649-80CA-A7B3BC6BB497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05843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3901F2-F2D9-B649-80CA-A7B3BC6BB497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560116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3901F2-F2D9-B649-80CA-A7B3BC6BB497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271996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3901F2-F2D9-B649-80CA-A7B3BC6BB497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64008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3901F2-F2D9-B649-80CA-A7B3BC6BB497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937411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3901F2-F2D9-B649-80CA-A7B3BC6BB497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417851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3901F2-F2D9-B649-80CA-A7B3BC6BB497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231067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3901F2-F2D9-B649-80CA-A7B3BC6BB497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94560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aseline="0">
                <a:latin typeface="Gill Sans SemiBold" panose="020B0502020104020203" pitchFamily="34" charset="-79"/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aseline="0">
                <a:latin typeface="Gill Sans" panose="020B05020201040202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noProof="0"/>
              <a:t>Klicka här för att ändra mall för underrubrikformat</a:t>
            </a:r>
            <a:endParaRPr lang="en-GB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974225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Gill Sans SemiBold" panose="020B0502020104020203" pitchFamily="34" charset="-79"/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baseline="0">
                <a:latin typeface="Gill Sans" panose="020B0502020104020203" pitchFamily="34" charset="-79"/>
              </a:defRPr>
            </a:lvl1pPr>
            <a:lvl2pPr>
              <a:defRPr baseline="0">
                <a:latin typeface="Gill Sans" panose="020B0502020104020203" pitchFamily="34" charset="-79"/>
              </a:defRPr>
            </a:lvl2pPr>
            <a:lvl3pPr>
              <a:defRPr baseline="0">
                <a:latin typeface="Gill Sans" panose="020B0502020104020203" pitchFamily="34" charset="-79"/>
              </a:defRPr>
            </a:lvl3pPr>
            <a:lvl4pPr>
              <a:defRPr baseline="0">
                <a:latin typeface="Gill Sans" panose="020B0502020104020203" pitchFamily="34" charset="-79"/>
              </a:defRPr>
            </a:lvl4pPr>
            <a:lvl5pPr>
              <a:defRPr baseline="0">
                <a:latin typeface="Gill Sans" panose="020B0502020104020203" pitchFamily="34" charset="-79"/>
              </a:defRPr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078017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 baseline="0">
                <a:latin typeface="Gill Sans SemiBold" panose="020B0502020104020203" pitchFamily="34" charset="-79"/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 baseline="0">
                <a:latin typeface="Gill Sans" panose="020B0502020104020203" pitchFamily="34" charset="-79"/>
              </a:defRPr>
            </a:lvl1pPr>
            <a:lvl2pPr>
              <a:defRPr baseline="0">
                <a:latin typeface="Gill Sans" panose="020B0502020104020203" pitchFamily="34" charset="-79"/>
              </a:defRPr>
            </a:lvl2pPr>
            <a:lvl3pPr>
              <a:defRPr baseline="0">
                <a:latin typeface="Gill Sans" panose="020B0502020104020203" pitchFamily="34" charset="-79"/>
              </a:defRPr>
            </a:lvl3pPr>
            <a:lvl4pPr>
              <a:defRPr baseline="0">
                <a:latin typeface="Gill Sans" panose="020B0502020104020203" pitchFamily="34" charset="-79"/>
              </a:defRPr>
            </a:lvl4pPr>
            <a:lvl5pPr>
              <a:defRPr baseline="0">
                <a:latin typeface="Gill Sans" panose="020B0502020104020203" pitchFamily="34" charset="-79"/>
              </a:defRPr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05557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Gill Sans SemiBold" panose="020B0502020104020203" pitchFamily="34" charset="-79"/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Gill Sans" panose="020B0502020104020203" pitchFamily="34" charset="-79"/>
              </a:defRPr>
            </a:lvl1pPr>
            <a:lvl2pPr>
              <a:defRPr baseline="0">
                <a:latin typeface="Gill Sans" panose="020B0502020104020203" pitchFamily="34" charset="-79"/>
              </a:defRPr>
            </a:lvl2pPr>
            <a:lvl3pPr>
              <a:defRPr baseline="0">
                <a:latin typeface="Gill Sans" panose="020B0502020104020203" pitchFamily="34" charset="-79"/>
              </a:defRPr>
            </a:lvl3pPr>
            <a:lvl4pPr>
              <a:defRPr baseline="0">
                <a:latin typeface="Gill Sans" panose="020B0502020104020203" pitchFamily="34" charset="-79"/>
              </a:defRPr>
            </a:lvl4pPr>
            <a:lvl5pPr>
              <a:defRPr baseline="0">
                <a:latin typeface="Gill Sans" panose="020B0502020104020203" pitchFamily="34" charset="-79"/>
              </a:defRPr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595445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 baseline="0">
                <a:latin typeface="Gill Sans SemiBold" panose="020B0502020104020203" pitchFamily="34" charset="-79"/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bg1">
                    <a:lumMod val="50000"/>
                  </a:schemeClr>
                </a:solidFill>
                <a:latin typeface="Gill Sans" panose="020B0502020104020203" pitchFamily="34" charset="-79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01595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Gill Sans SemiBold" panose="020B0502020104020203" pitchFamily="34" charset="-79"/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baseline="0">
                <a:latin typeface="Gill Sans" panose="020B0502020104020203" pitchFamily="34" charset="-79"/>
              </a:defRPr>
            </a:lvl1pPr>
            <a:lvl2pPr>
              <a:defRPr baseline="0">
                <a:latin typeface="Gill Sans" panose="020B0502020104020203" pitchFamily="34" charset="-79"/>
              </a:defRPr>
            </a:lvl2pPr>
            <a:lvl3pPr>
              <a:defRPr baseline="0">
                <a:latin typeface="Gill Sans" panose="020B0502020104020203" pitchFamily="34" charset="-79"/>
              </a:defRPr>
            </a:lvl3pPr>
            <a:lvl4pPr>
              <a:defRPr baseline="0">
                <a:latin typeface="Gill Sans" panose="020B0502020104020203" pitchFamily="34" charset="-79"/>
              </a:defRPr>
            </a:lvl4pPr>
            <a:lvl5pPr>
              <a:defRPr baseline="0">
                <a:latin typeface="Gill Sans" panose="020B0502020104020203" pitchFamily="34" charset="-79"/>
              </a:defRPr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 baseline="0">
                <a:latin typeface="Gill Sans" panose="020B0502020104020203" pitchFamily="34" charset="-79"/>
              </a:defRPr>
            </a:lvl1pPr>
            <a:lvl2pPr>
              <a:defRPr baseline="0">
                <a:latin typeface="Gill Sans" panose="020B0502020104020203" pitchFamily="34" charset="-79"/>
              </a:defRPr>
            </a:lvl2pPr>
            <a:lvl3pPr>
              <a:defRPr baseline="0">
                <a:latin typeface="Gill Sans" panose="020B0502020104020203" pitchFamily="34" charset="-79"/>
              </a:defRPr>
            </a:lvl3pPr>
            <a:lvl4pPr>
              <a:defRPr baseline="0">
                <a:latin typeface="Gill Sans" panose="020B0502020104020203" pitchFamily="34" charset="-79"/>
              </a:defRPr>
            </a:lvl4pPr>
            <a:lvl5pPr>
              <a:defRPr baseline="0">
                <a:latin typeface="Gill Sans" panose="020B0502020104020203" pitchFamily="34" charset="-79"/>
              </a:defRPr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360999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 baseline="0">
                <a:latin typeface="Gill Sans SemiBold" panose="020B0502020104020203" pitchFamily="34" charset="-79"/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 baseline="0">
                <a:solidFill>
                  <a:schemeClr val="bg1">
                    <a:lumMod val="50000"/>
                  </a:schemeClr>
                </a:solidFill>
                <a:latin typeface="Gill Sans SemiBold" panose="020B0502020104020203" pitchFamily="34" charset="-79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 baseline="0">
                <a:latin typeface="Gill Sans" panose="020B0502020104020203" pitchFamily="34" charset="-79"/>
              </a:defRPr>
            </a:lvl1pPr>
            <a:lvl2pPr>
              <a:defRPr baseline="0">
                <a:latin typeface="Gill Sans" panose="020B0502020104020203" pitchFamily="34" charset="-79"/>
              </a:defRPr>
            </a:lvl2pPr>
            <a:lvl3pPr>
              <a:defRPr baseline="0">
                <a:latin typeface="Gill Sans" panose="020B0502020104020203" pitchFamily="34" charset="-79"/>
              </a:defRPr>
            </a:lvl3pPr>
            <a:lvl4pPr>
              <a:defRPr baseline="0">
                <a:latin typeface="Gill Sans" panose="020B0502020104020203" pitchFamily="34" charset="-79"/>
              </a:defRPr>
            </a:lvl4pPr>
            <a:lvl5pPr>
              <a:defRPr baseline="0">
                <a:latin typeface="Gill Sans" panose="020B0502020104020203" pitchFamily="34" charset="-79"/>
              </a:defRPr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 baseline="0">
                <a:solidFill>
                  <a:schemeClr val="bg1">
                    <a:lumMod val="50000"/>
                  </a:schemeClr>
                </a:solidFill>
                <a:latin typeface="Gill Sans SemiBold" panose="020B0502020104020203" pitchFamily="34" charset="-79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 baseline="0">
                <a:latin typeface="Gill Sans" panose="020B0502020104020203" pitchFamily="34" charset="-79"/>
              </a:defRPr>
            </a:lvl1pPr>
            <a:lvl2pPr>
              <a:defRPr baseline="0">
                <a:latin typeface="Gill Sans" panose="020B0502020104020203" pitchFamily="34" charset="-79"/>
              </a:defRPr>
            </a:lvl2pPr>
            <a:lvl3pPr>
              <a:defRPr baseline="0">
                <a:latin typeface="Gill Sans" panose="020B0502020104020203" pitchFamily="34" charset="-79"/>
              </a:defRPr>
            </a:lvl3pPr>
            <a:lvl4pPr>
              <a:defRPr baseline="0">
                <a:latin typeface="Gill Sans" panose="020B0502020104020203" pitchFamily="34" charset="-79"/>
              </a:defRPr>
            </a:lvl4pPr>
            <a:lvl5pPr>
              <a:defRPr baseline="0">
                <a:latin typeface="Gill Sans" panose="020B0502020104020203" pitchFamily="34" charset="-79"/>
              </a:defRPr>
            </a:lvl5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79289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Gill Sans SemiBold" panose="020B0502020104020203" pitchFamily="34" charset="-79"/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70750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85046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aseline="0">
                <a:latin typeface="Gill Sans" panose="020B0502020104020203" pitchFamily="34" charset="-79"/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 baseline="0">
                <a:latin typeface="Gill Sans" panose="020B0502020104020203" pitchFamily="34" charset="-79"/>
              </a:defRPr>
            </a:lvl1pPr>
            <a:lvl2pPr>
              <a:defRPr sz="2800" baseline="0">
                <a:latin typeface="Gill Sans" panose="020B0502020104020203" pitchFamily="34" charset="-79"/>
              </a:defRPr>
            </a:lvl2pPr>
            <a:lvl3pPr>
              <a:defRPr sz="2400" baseline="0">
                <a:latin typeface="Gill Sans" panose="020B0502020104020203" pitchFamily="34" charset="-79"/>
              </a:defRPr>
            </a:lvl3pPr>
            <a:lvl4pPr>
              <a:defRPr sz="2000" baseline="0">
                <a:latin typeface="Gill Sans" panose="020B0502020104020203" pitchFamily="34" charset="-79"/>
              </a:defRPr>
            </a:lvl4pPr>
            <a:lvl5pPr>
              <a:defRPr sz="2000" baseline="0">
                <a:latin typeface="Gill Sans" panose="020B0502020104020203" pitchFamily="34" charset="-79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  <a:endParaRPr lang="en-GB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 baseline="0">
                <a:latin typeface="Gill Sans Light" panose="020B0302020104020203" pitchFamily="34" charset="-79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953811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aseline="0">
                <a:latin typeface="Gill Sans" panose="020B0502020104020203" pitchFamily="34" charset="-79"/>
              </a:defRPr>
            </a:lvl1pPr>
          </a:lstStyle>
          <a:p>
            <a:r>
              <a:rPr lang="sv-SE" noProof="0"/>
              <a:t>Klicka här för att ändra mall för rubrikformat</a:t>
            </a:r>
            <a:endParaRPr lang="en-GB" noProof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 baseline="0">
                <a:latin typeface="Gill Sans" panose="020B0502020104020203" pitchFamily="34" charset="-79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 noProof="0"/>
              <a:t>Klicka på ikonen för att lägga till en bild</a:t>
            </a:r>
            <a:endParaRPr lang="en-GB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 baseline="0">
                <a:latin typeface="Gill Sans Light" panose="020B0302020104020203" pitchFamily="34" charset="-79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noProof="0"/>
              <a:t>Klicka här för att ändra format på bakgrundstexten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57354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objekt 11">
            <a:extLst>
              <a:ext uri="{FF2B5EF4-FFF2-40B4-BE49-F238E27FC236}">
                <a16:creationId xmlns:a16="http://schemas.microsoft.com/office/drawing/2014/main" id="{062D98EC-0C1F-A24C-A39D-47F139A2F523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-1" y="6246716"/>
            <a:ext cx="12192000" cy="6223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endParaRPr lang="en-GB" noProof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Klicka här för att ändra format på bakgrundstexten</a:t>
            </a:r>
          </a:p>
          <a:p>
            <a:pPr lvl="1"/>
            <a:r>
              <a:rPr lang="en-GB" noProof="0"/>
              <a:t>Nivå två</a:t>
            </a:r>
          </a:p>
          <a:p>
            <a:pPr lvl="2"/>
            <a:r>
              <a:rPr lang="en-GB" noProof="0"/>
              <a:t>Nivå tre</a:t>
            </a:r>
          </a:p>
          <a:p>
            <a:pPr lvl="3"/>
            <a:r>
              <a:rPr lang="en-GB" noProof="0"/>
              <a:t>Nivå fyra</a:t>
            </a:r>
          </a:p>
          <a:p>
            <a:pPr lvl="4"/>
            <a:r>
              <a:rPr lang="en-GB" noProof="0"/>
              <a:t>Nivå fem</a:t>
            </a:r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406" y="6268663"/>
            <a:ext cx="2370580" cy="576000"/>
          </a:xfrm>
          <a:prstGeom prst="rect">
            <a:avLst/>
          </a:prstGeom>
        </p:spPr>
      </p:pic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839239" y="6365310"/>
            <a:ext cx="513521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800" baseline="0">
                <a:solidFill>
                  <a:schemeClr val="bg1"/>
                </a:solidFill>
                <a:latin typeface="Gill Sans" panose="020B0502020104020203" pitchFamily="34" charset="-79"/>
              </a:defRPr>
            </a:lvl1pPr>
          </a:lstStyle>
          <a:p>
            <a:fld id="{F667C6ED-00CC-A943-985C-7BDD8E296189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06887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Gill Sans SemiBold" panose="020B0502020104020203" pitchFamily="34" charset="-79"/>
          <a:ea typeface="Gill Sans" charset="0"/>
          <a:cs typeface="Gill Sans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chart" Target="../charts/chart1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notesSlide" Target="../notesSlides/notesSlide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8.xml"/><Relationship Id="rId51" Type="http://schemas.openxmlformats.org/officeDocument/2006/relationships/chart" Target="../charts/chart2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4FC059F0-7BDA-A845-834E-0D51B825311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23833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071BE5FF-F6D4-3546-95C5-BB4BFD84D3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91416"/>
            <a:ext cx="9144000" cy="2387600"/>
          </a:xfrm>
        </p:spPr>
        <p:txBody>
          <a:bodyPr>
            <a:normAutofit/>
          </a:bodyPr>
          <a:lstStyle/>
          <a:p>
            <a:r>
              <a:rPr lang="sv-SE">
                <a:ln w="3175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/>
                </a:solidFill>
                <a:latin typeface="+mn-lt"/>
              </a:rPr>
              <a:t>Skandinaviens mest</a:t>
            </a:r>
            <a:br>
              <a:rPr lang="sv-SE">
                <a:ln w="3175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/>
                </a:solidFill>
                <a:latin typeface="+mn-lt"/>
              </a:rPr>
            </a:br>
            <a:r>
              <a:rPr lang="sv-SE">
                <a:ln w="3175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/>
                </a:solidFill>
                <a:latin typeface="+mn-lt"/>
              </a:rPr>
              <a:t>lönsamma järnvägsprojek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66A0258-1DDE-184D-BAE5-A43B0AC1CC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071091"/>
            <a:ext cx="9144000" cy="1655762"/>
          </a:xfrm>
          <a:ln>
            <a:noFill/>
          </a:ln>
        </p:spPr>
        <p:txBody>
          <a:bodyPr/>
          <a:lstStyle/>
          <a:p>
            <a:r>
              <a:rPr lang="sv-SE">
                <a:ln w="3175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/>
                </a:solidFill>
                <a:latin typeface="+mn-lt"/>
              </a:rPr>
              <a:t>En unik möjlighet att bygga</a:t>
            </a:r>
            <a:br>
              <a:rPr lang="sv-SE">
                <a:ln w="3175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/>
                </a:solidFill>
                <a:latin typeface="+mn-lt"/>
              </a:rPr>
            </a:br>
            <a:r>
              <a:rPr lang="sv-SE">
                <a:ln w="3175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/>
                </a:solidFill>
                <a:latin typeface="+mn-lt"/>
              </a:rPr>
              <a:t>ett hållbart och starkt Norden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00D5B839-AF12-884D-B5EC-703713F9E7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1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11844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18" descr="En bild som visar vajer, vatten, grön, stor&#10;&#10;Automatiskt genererad beskrivning">
            <a:extLst>
              <a:ext uri="{FF2B5EF4-FFF2-40B4-BE49-F238E27FC236}">
                <a16:creationId xmlns:a16="http://schemas.microsoft.com/office/drawing/2014/main" id="{32E60FD8-D4EB-0446-B884-3460C3EAC1C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230984"/>
          </a:xfrm>
          <a:prstGeom prst="rect">
            <a:avLst/>
          </a:prstGeom>
        </p:spPr>
      </p:pic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sv-SE" smtClean="0"/>
              <a:t>2</a:t>
            </a:fld>
            <a:endParaRPr lang="sv-SE"/>
          </a:p>
        </p:txBody>
      </p:sp>
      <p:sp>
        <p:nvSpPr>
          <p:cNvPr id="25" name="Båge 24">
            <a:extLst>
              <a:ext uri="{FF2B5EF4-FFF2-40B4-BE49-F238E27FC236}">
                <a16:creationId xmlns:a16="http://schemas.microsoft.com/office/drawing/2014/main" id="{B86DD90F-5684-1A46-8433-11D46CAA5E13}"/>
              </a:ext>
            </a:extLst>
          </p:cNvPr>
          <p:cNvSpPr/>
          <p:nvPr/>
        </p:nvSpPr>
        <p:spPr>
          <a:xfrm rot="439405">
            <a:off x="974027" y="1420557"/>
            <a:ext cx="10631306" cy="2593511"/>
          </a:xfrm>
          <a:prstGeom prst="arc">
            <a:avLst>
              <a:gd name="adj1" fmla="val 10967676"/>
              <a:gd name="adj2" fmla="val 75527"/>
            </a:avLst>
          </a:prstGeom>
          <a:ln w="6350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DAB50668-BF17-CC42-995E-B460C127A700}"/>
              </a:ext>
            </a:extLst>
          </p:cNvPr>
          <p:cNvSpPr txBox="1"/>
          <p:nvPr/>
        </p:nvSpPr>
        <p:spPr>
          <a:xfrm rot="599146">
            <a:off x="6493511" y="1114336"/>
            <a:ext cx="24563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2400" dirty="0">
                <a:solidFill>
                  <a:srgbClr val="FF0000"/>
                </a:solidFill>
              </a:rPr>
              <a:t>22 turer per dag</a:t>
            </a:r>
          </a:p>
        </p:txBody>
      </p:sp>
      <p:sp>
        <p:nvSpPr>
          <p:cNvPr id="27" name="Båge 26">
            <a:extLst>
              <a:ext uri="{FF2B5EF4-FFF2-40B4-BE49-F238E27FC236}">
                <a16:creationId xmlns:a16="http://schemas.microsoft.com/office/drawing/2014/main" id="{886A1721-7080-BF45-9C44-A41FE46E01C8}"/>
              </a:ext>
            </a:extLst>
          </p:cNvPr>
          <p:cNvSpPr/>
          <p:nvPr/>
        </p:nvSpPr>
        <p:spPr>
          <a:xfrm rot="11235097">
            <a:off x="412757" y="2043979"/>
            <a:ext cx="10937147" cy="2780647"/>
          </a:xfrm>
          <a:prstGeom prst="arc">
            <a:avLst>
              <a:gd name="adj1" fmla="val 10828379"/>
              <a:gd name="adj2" fmla="val 179901"/>
            </a:avLst>
          </a:prstGeom>
          <a:ln w="63500">
            <a:solidFill>
              <a:srgbClr val="FFC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0" name="textruta 29">
            <a:extLst>
              <a:ext uri="{FF2B5EF4-FFF2-40B4-BE49-F238E27FC236}">
                <a16:creationId xmlns:a16="http://schemas.microsoft.com/office/drawing/2014/main" id="{F5E62B0F-D54E-F340-B9DE-2DF2526BCE92}"/>
              </a:ext>
            </a:extLst>
          </p:cNvPr>
          <p:cNvSpPr txBox="1"/>
          <p:nvPr/>
        </p:nvSpPr>
        <p:spPr>
          <a:xfrm rot="415144">
            <a:off x="4440361" y="4854551"/>
            <a:ext cx="2535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2400">
                <a:solidFill>
                  <a:srgbClr val="FFC000"/>
                </a:solidFill>
              </a:rPr>
              <a:t>Kraftig uppgång</a:t>
            </a:r>
          </a:p>
        </p:txBody>
      </p:sp>
      <p:pic>
        <p:nvPicPr>
          <p:cNvPr id="17" name="Bildobjekt 16">
            <a:extLst>
              <a:ext uri="{FF2B5EF4-FFF2-40B4-BE49-F238E27FC236}">
                <a16:creationId xmlns:a16="http://schemas.microsoft.com/office/drawing/2014/main" id="{DBACA16B-5B0A-FF4E-A719-7802F67DB96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9462" y="861093"/>
            <a:ext cx="1543647" cy="87312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1" name="Rak pil 30">
            <a:extLst>
              <a:ext uri="{FF2B5EF4-FFF2-40B4-BE49-F238E27FC236}">
                <a16:creationId xmlns:a16="http://schemas.microsoft.com/office/drawing/2014/main" id="{96973E12-0525-5D48-BA6B-8D8377FBD8D3}"/>
              </a:ext>
            </a:extLst>
          </p:cNvPr>
          <p:cNvCxnSpPr>
            <a:cxnSpLocks/>
          </p:cNvCxnSpPr>
          <p:nvPr/>
        </p:nvCxnSpPr>
        <p:spPr>
          <a:xfrm>
            <a:off x="1257300" y="2299694"/>
            <a:ext cx="9706516" cy="1586506"/>
          </a:xfrm>
          <a:prstGeom prst="straightConnector1">
            <a:avLst/>
          </a:prstGeom>
          <a:ln w="63500">
            <a:solidFill>
              <a:srgbClr val="AFCB38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ruta 35">
            <a:extLst>
              <a:ext uri="{FF2B5EF4-FFF2-40B4-BE49-F238E27FC236}">
                <a16:creationId xmlns:a16="http://schemas.microsoft.com/office/drawing/2014/main" id="{57EB1F8B-1C53-D744-AB88-6FCBCA893025}"/>
              </a:ext>
            </a:extLst>
          </p:cNvPr>
          <p:cNvSpPr txBox="1"/>
          <p:nvPr/>
        </p:nvSpPr>
        <p:spPr>
          <a:xfrm rot="534901">
            <a:off x="3017916" y="2360946"/>
            <a:ext cx="3364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2400" dirty="0">
                <a:solidFill>
                  <a:srgbClr val="AFCB38"/>
                </a:solidFill>
              </a:rPr>
              <a:t>5 turer per dag</a:t>
            </a:r>
          </a:p>
        </p:txBody>
      </p:sp>
      <p:pic>
        <p:nvPicPr>
          <p:cNvPr id="38" name="Bildobjekt 37">
            <a:extLst>
              <a:ext uri="{FF2B5EF4-FFF2-40B4-BE49-F238E27FC236}">
                <a16:creationId xmlns:a16="http://schemas.microsoft.com/office/drawing/2014/main" id="{60598B08-1D33-BA40-9464-E272030A95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2364" y="3829049"/>
            <a:ext cx="1645994" cy="1645994"/>
          </a:xfrm>
          <a:prstGeom prst="rect">
            <a:avLst/>
          </a:prstGeom>
        </p:spPr>
      </p:pic>
      <p:pic>
        <p:nvPicPr>
          <p:cNvPr id="40" name="Bildobjekt 39">
            <a:extLst>
              <a:ext uri="{FF2B5EF4-FFF2-40B4-BE49-F238E27FC236}">
                <a16:creationId xmlns:a16="http://schemas.microsoft.com/office/drawing/2014/main" id="{4B4F1C77-ADE0-3342-BBF5-A865B859697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2662" y="2564983"/>
            <a:ext cx="873125" cy="873125"/>
          </a:xfrm>
          <a:prstGeom prst="rect">
            <a:avLst/>
          </a:prstGeom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020E2D4E-1FE3-DF4C-9F5E-63CC107AA380}"/>
              </a:ext>
            </a:extLst>
          </p:cNvPr>
          <p:cNvSpPr txBox="1"/>
          <p:nvPr/>
        </p:nvSpPr>
        <p:spPr>
          <a:xfrm>
            <a:off x="2869103" y="782894"/>
            <a:ext cx="21002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2400" dirty="0">
                <a:solidFill>
                  <a:srgbClr val="FF0000"/>
                </a:solidFill>
              </a:rPr>
              <a:t>88%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6C429E58-C639-5949-A091-9F18A4A29C50}"/>
              </a:ext>
            </a:extLst>
          </p:cNvPr>
          <p:cNvSpPr txBox="1"/>
          <p:nvPr/>
        </p:nvSpPr>
        <p:spPr>
          <a:xfrm rot="534901">
            <a:off x="7452763" y="3026278"/>
            <a:ext cx="26910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dirty="0">
                <a:solidFill>
                  <a:srgbClr val="AFCB38"/>
                </a:solidFill>
              </a:rPr>
              <a:t>12%</a:t>
            </a:r>
          </a:p>
        </p:txBody>
      </p:sp>
      <p:sp>
        <p:nvSpPr>
          <p:cNvPr id="18" name="textruta 17">
            <a:extLst>
              <a:ext uri="{FF2B5EF4-FFF2-40B4-BE49-F238E27FC236}">
                <a16:creationId xmlns:a16="http://schemas.microsoft.com/office/drawing/2014/main" id="{2784C7BF-A509-754D-8401-27A15E93039B}"/>
              </a:ext>
            </a:extLst>
          </p:cNvPr>
          <p:cNvSpPr txBox="1"/>
          <p:nvPr/>
        </p:nvSpPr>
        <p:spPr>
          <a:xfrm rot="589226">
            <a:off x="5803667" y="1653615"/>
            <a:ext cx="35051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2400" dirty="0">
                <a:solidFill>
                  <a:srgbClr val="FF0000"/>
                </a:solidFill>
              </a:rPr>
              <a:t>1,4 miljoner resor per år</a:t>
            </a:r>
          </a:p>
        </p:txBody>
      </p:sp>
    </p:spTree>
    <p:extLst>
      <p:ext uri="{BB962C8B-B14F-4D97-AF65-F5344CB8AC3E}">
        <p14:creationId xmlns:p14="http://schemas.microsoft.com/office/powerpoint/2010/main" val="1111027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02"/>
            <a:ext cx="12192000" cy="6248403"/>
          </a:xfrm>
          <a:prstGeom prst="rect">
            <a:avLst/>
          </a:prstGeom>
        </p:spPr>
      </p:pic>
      <p:cxnSp>
        <p:nvCxnSpPr>
          <p:cNvPr id="46" name="Rak 45"/>
          <p:cNvCxnSpPr/>
          <p:nvPr/>
        </p:nvCxnSpPr>
        <p:spPr>
          <a:xfrm flipV="1">
            <a:off x="1374588" y="1045883"/>
            <a:ext cx="1500094" cy="669364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ak 46"/>
          <p:cNvCxnSpPr/>
          <p:nvPr/>
        </p:nvCxnSpPr>
        <p:spPr>
          <a:xfrm flipH="1" flipV="1">
            <a:off x="2874684" y="1051859"/>
            <a:ext cx="735104" cy="1326776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ak 49"/>
          <p:cNvCxnSpPr/>
          <p:nvPr/>
        </p:nvCxnSpPr>
        <p:spPr>
          <a:xfrm flipH="1" flipV="1">
            <a:off x="3609790" y="2395904"/>
            <a:ext cx="1099996" cy="579028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Rak 61"/>
          <p:cNvCxnSpPr/>
          <p:nvPr/>
        </p:nvCxnSpPr>
        <p:spPr>
          <a:xfrm flipH="1" flipV="1">
            <a:off x="4784942" y="3012510"/>
            <a:ext cx="713411" cy="208808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Rak 64"/>
          <p:cNvCxnSpPr/>
          <p:nvPr/>
        </p:nvCxnSpPr>
        <p:spPr>
          <a:xfrm>
            <a:off x="5498353" y="3221318"/>
            <a:ext cx="597647" cy="794870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Rak 72"/>
          <p:cNvCxnSpPr/>
          <p:nvPr/>
        </p:nvCxnSpPr>
        <p:spPr>
          <a:xfrm flipH="1">
            <a:off x="6770966" y="3344449"/>
            <a:ext cx="87034" cy="475989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Rak 88"/>
          <p:cNvCxnSpPr/>
          <p:nvPr/>
        </p:nvCxnSpPr>
        <p:spPr>
          <a:xfrm flipH="1">
            <a:off x="9813365" y="3538672"/>
            <a:ext cx="53788" cy="204910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Rak 90"/>
          <p:cNvCxnSpPr/>
          <p:nvPr/>
        </p:nvCxnSpPr>
        <p:spPr>
          <a:xfrm flipH="1">
            <a:off x="9856651" y="3227947"/>
            <a:ext cx="482644" cy="310725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sv-SE" smtClean="0"/>
              <a:t>3</a:t>
            </a:fld>
            <a:endParaRPr lang="sv-SE"/>
          </a:p>
        </p:txBody>
      </p:sp>
      <p:cxnSp>
        <p:nvCxnSpPr>
          <p:cNvPr id="7" name="Rak pil 6"/>
          <p:cNvCxnSpPr>
            <a:cxnSpLocks/>
          </p:cNvCxnSpPr>
          <p:nvPr/>
        </p:nvCxnSpPr>
        <p:spPr>
          <a:xfrm>
            <a:off x="1515965" y="1796336"/>
            <a:ext cx="1953595" cy="567860"/>
          </a:xfrm>
          <a:prstGeom prst="straightConnector1">
            <a:avLst/>
          </a:prstGeom>
          <a:ln w="508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ak pil 10"/>
          <p:cNvCxnSpPr/>
          <p:nvPr/>
        </p:nvCxnSpPr>
        <p:spPr>
          <a:xfrm>
            <a:off x="4902050" y="3029964"/>
            <a:ext cx="1801746" cy="254301"/>
          </a:xfrm>
          <a:prstGeom prst="straightConnector1">
            <a:avLst/>
          </a:prstGeom>
          <a:ln w="508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pil 14"/>
          <p:cNvCxnSpPr/>
          <p:nvPr/>
        </p:nvCxnSpPr>
        <p:spPr>
          <a:xfrm flipV="1">
            <a:off x="7006793" y="2521363"/>
            <a:ext cx="1352663" cy="730438"/>
          </a:xfrm>
          <a:prstGeom prst="straightConnector1">
            <a:avLst/>
          </a:prstGeom>
          <a:ln w="508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pil 18"/>
          <p:cNvCxnSpPr/>
          <p:nvPr/>
        </p:nvCxnSpPr>
        <p:spPr>
          <a:xfrm>
            <a:off x="8672945" y="2493819"/>
            <a:ext cx="1558879" cy="563199"/>
          </a:xfrm>
          <a:prstGeom prst="straightConnector1">
            <a:avLst/>
          </a:prstGeom>
          <a:ln w="508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 20"/>
          <p:cNvSpPr/>
          <p:nvPr/>
        </p:nvSpPr>
        <p:spPr>
          <a:xfrm>
            <a:off x="6770966" y="3206014"/>
            <a:ext cx="180000" cy="180000"/>
          </a:xfrm>
          <a:prstGeom prst="ellipse">
            <a:avLst/>
          </a:prstGeom>
          <a:noFill/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Ellips 21"/>
          <p:cNvSpPr/>
          <p:nvPr/>
        </p:nvSpPr>
        <p:spPr>
          <a:xfrm>
            <a:off x="8370126" y="2982688"/>
            <a:ext cx="180000" cy="180000"/>
          </a:xfrm>
          <a:prstGeom prst="ellipse">
            <a:avLst/>
          </a:prstGeom>
          <a:noFill/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3" name="Ellips 22"/>
          <p:cNvSpPr/>
          <p:nvPr/>
        </p:nvSpPr>
        <p:spPr>
          <a:xfrm>
            <a:off x="8419662" y="2395903"/>
            <a:ext cx="180000" cy="180000"/>
          </a:xfrm>
          <a:prstGeom prst="ellipse">
            <a:avLst/>
          </a:prstGeom>
          <a:noFill/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4" name="Ellips 23"/>
          <p:cNvSpPr/>
          <p:nvPr/>
        </p:nvSpPr>
        <p:spPr>
          <a:xfrm>
            <a:off x="10275110" y="3044866"/>
            <a:ext cx="252000" cy="252000"/>
          </a:xfrm>
          <a:prstGeom prst="ellipse">
            <a:avLst/>
          </a:prstGeom>
          <a:noFill/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5" name="Ellips 24"/>
          <p:cNvSpPr/>
          <p:nvPr/>
        </p:nvSpPr>
        <p:spPr>
          <a:xfrm>
            <a:off x="4659139" y="2904562"/>
            <a:ext cx="180000" cy="180000"/>
          </a:xfrm>
          <a:prstGeom prst="ellipse">
            <a:avLst/>
          </a:prstGeom>
          <a:noFill/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Ellips 25"/>
          <p:cNvSpPr/>
          <p:nvPr/>
        </p:nvSpPr>
        <p:spPr>
          <a:xfrm>
            <a:off x="1208138" y="1620327"/>
            <a:ext cx="252000" cy="252000"/>
          </a:xfrm>
          <a:prstGeom prst="ellipse">
            <a:avLst/>
          </a:prstGeom>
          <a:noFill/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31" name="Rak pil 30"/>
          <p:cNvCxnSpPr/>
          <p:nvPr/>
        </p:nvCxnSpPr>
        <p:spPr>
          <a:xfrm>
            <a:off x="7553269" y="2965037"/>
            <a:ext cx="762901" cy="91981"/>
          </a:xfrm>
          <a:prstGeom prst="straightConnector1">
            <a:avLst/>
          </a:prstGeom>
          <a:ln w="508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ak pil 37"/>
          <p:cNvCxnSpPr/>
          <p:nvPr/>
        </p:nvCxnSpPr>
        <p:spPr>
          <a:xfrm>
            <a:off x="8595640" y="3072688"/>
            <a:ext cx="1598026" cy="139589"/>
          </a:xfrm>
          <a:prstGeom prst="straightConnector1">
            <a:avLst/>
          </a:prstGeom>
          <a:ln w="508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ruta 33"/>
          <p:cNvSpPr txBox="1"/>
          <p:nvPr/>
        </p:nvSpPr>
        <p:spPr>
          <a:xfrm rot="19834876">
            <a:off x="7098561" y="2553031"/>
            <a:ext cx="100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0:35</a:t>
            </a:r>
          </a:p>
        </p:txBody>
      </p:sp>
      <p:sp>
        <p:nvSpPr>
          <p:cNvPr id="35" name="textruta 34"/>
          <p:cNvSpPr txBox="1"/>
          <p:nvPr/>
        </p:nvSpPr>
        <p:spPr>
          <a:xfrm rot="1182644">
            <a:off x="9019359" y="2445138"/>
            <a:ext cx="100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0:39</a:t>
            </a:r>
          </a:p>
        </p:txBody>
      </p:sp>
      <p:sp>
        <p:nvSpPr>
          <p:cNvPr id="36" name="textruta 35"/>
          <p:cNvSpPr txBox="1"/>
          <p:nvPr/>
        </p:nvSpPr>
        <p:spPr>
          <a:xfrm rot="502207">
            <a:off x="5342305" y="2804983"/>
            <a:ext cx="100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0:34</a:t>
            </a:r>
          </a:p>
        </p:txBody>
      </p:sp>
      <p:sp>
        <p:nvSpPr>
          <p:cNvPr id="37" name="textruta 36"/>
          <p:cNvSpPr txBox="1"/>
          <p:nvPr/>
        </p:nvSpPr>
        <p:spPr>
          <a:xfrm rot="964790">
            <a:off x="2031090" y="1756235"/>
            <a:ext cx="100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0:40</a:t>
            </a:r>
          </a:p>
        </p:txBody>
      </p:sp>
      <p:sp>
        <p:nvSpPr>
          <p:cNvPr id="10" name="Båge 9"/>
          <p:cNvSpPr/>
          <p:nvPr/>
        </p:nvSpPr>
        <p:spPr>
          <a:xfrm rot="445771">
            <a:off x="1375829" y="1192653"/>
            <a:ext cx="9072474" cy="2144606"/>
          </a:xfrm>
          <a:prstGeom prst="arc">
            <a:avLst>
              <a:gd name="adj1" fmla="val 10961857"/>
              <a:gd name="adj2" fmla="val 0"/>
            </a:avLst>
          </a:prstGeom>
          <a:ln w="508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3" name="textruta 42"/>
          <p:cNvSpPr txBox="1"/>
          <p:nvPr/>
        </p:nvSpPr>
        <p:spPr>
          <a:xfrm rot="428009">
            <a:off x="5682998" y="825699"/>
            <a:ext cx="100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2:48</a:t>
            </a:r>
          </a:p>
        </p:txBody>
      </p:sp>
      <p:sp>
        <p:nvSpPr>
          <p:cNvPr id="45" name="textruta 44"/>
          <p:cNvSpPr txBox="1"/>
          <p:nvPr/>
        </p:nvSpPr>
        <p:spPr>
          <a:xfrm rot="21257434">
            <a:off x="7137973" y="2986200"/>
            <a:ext cx="100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0:40</a:t>
            </a:r>
          </a:p>
        </p:txBody>
      </p:sp>
      <p:sp>
        <p:nvSpPr>
          <p:cNvPr id="48" name="textruta 47"/>
          <p:cNvSpPr txBox="1"/>
          <p:nvPr/>
        </p:nvSpPr>
        <p:spPr>
          <a:xfrm rot="243700">
            <a:off x="8832399" y="3125469"/>
            <a:ext cx="100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0:47</a:t>
            </a:r>
          </a:p>
        </p:txBody>
      </p:sp>
      <p:sp>
        <p:nvSpPr>
          <p:cNvPr id="12" name="textruta 11"/>
          <p:cNvSpPr txBox="1"/>
          <p:nvPr/>
        </p:nvSpPr>
        <p:spPr>
          <a:xfrm>
            <a:off x="8595640" y="486056"/>
            <a:ext cx="3137505" cy="76944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4400" b="1">
                <a:solidFill>
                  <a:srgbClr val="AFCB38"/>
                </a:solidFill>
                <a:cs typeface="Gill Sans SemiBold" panose="020B0502020104020203" pitchFamily="34" charset="-79"/>
              </a:rPr>
              <a:t>Restid 2035</a:t>
            </a:r>
          </a:p>
        </p:txBody>
      </p:sp>
      <p:sp>
        <p:nvSpPr>
          <p:cNvPr id="52" name="textruta 51"/>
          <p:cNvSpPr txBox="1"/>
          <p:nvPr/>
        </p:nvSpPr>
        <p:spPr>
          <a:xfrm>
            <a:off x="1156493" y="3123112"/>
            <a:ext cx="3384027" cy="646331"/>
          </a:xfrm>
          <a:prstGeom prst="rect">
            <a:avLst/>
          </a:prstGeom>
          <a:solidFill>
            <a:schemeClr val="bg1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sv-SE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Ny bana </a:t>
            </a:r>
            <a:r>
              <a:rPr lang="sv-SE" b="1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Lilleström/</a:t>
            </a:r>
            <a:r>
              <a:rPr lang="sv-SE" b="1" dirty="0" err="1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Ski</a:t>
            </a:r>
            <a:r>
              <a:rPr lang="sv-SE" b="1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-Arvika </a:t>
            </a:r>
            <a:r>
              <a:rPr lang="sv-SE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102/96 km, -1h30m, </a:t>
            </a:r>
            <a:r>
              <a:rPr lang="sv-SE" b="1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27,3 mdr SEK</a:t>
            </a:r>
          </a:p>
        </p:txBody>
      </p:sp>
      <p:cxnSp>
        <p:nvCxnSpPr>
          <p:cNvPr id="53" name="Rak 52"/>
          <p:cNvCxnSpPr/>
          <p:nvPr/>
        </p:nvCxnSpPr>
        <p:spPr>
          <a:xfrm flipV="1">
            <a:off x="6096000" y="3801649"/>
            <a:ext cx="674966" cy="214539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ak 53"/>
          <p:cNvCxnSpPr/>
          <p:nvPr/>
        </p:nvCxnSpPr>
        <p:spPr>
          <a:xfrm>
            <a:off x="6782844" y="3807912"/>
            <a:ext cx="1309297" cy="178394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Rak 54"/>
          <p:cNvCxnSpPr/>
          <p:nvPr/>
        </p:nvCxnSpPr>
        <p:spPr>
          <a:xfrm flipH="1">
            <a:off x="8092142" y="3783106"/>
            <a:ext cx="741082" cy="203200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Rak 55"/>
          <p:cNvCxnSpPr/>
          <p:nvPr/>
        </p:nvCxnSpPr>
        <p:spPr>
          <a:xfrm flipV="1">
            <a:off x="8833225" y="3743582"/>
            <a:ext cx="980140" cy="39524"/>
          </a:xfrm>
          <a:prstGeom prst="line">
            <a:avLst/>
          </a:prstGeom>
          <a:ln w="317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ruta 62"/>
          <p:cNvSpPr txBox="1"/>
          <p:nvPr/>
        </p:nvSpPr>
        <p:spPr>
          <a:xfrm>
            <a:off x="4659139" y="4145813"/>
            <a:ext cx="3127549" cy="646331"/>
          </a:xfrm>
          <a:prstGeom prst="rect">
            <a:avLst/>
          </a:prstGeom>
          <a:solidFill>
            <a:schemeClr val="bg1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sv-SE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Ny bana </a:t>
            </a:r>
            <a:r>
              <a:rPr lang="sv-SE" b="1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Kristinehamn-Örebro</a:t>
            </a:r>
          </a:p>
          <a:p>
            <a:pPr algn="ctr"/>
            <a:r>
              <a:rPr lang="sv-SE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65 km, -1h, </a:t>
            </a:r>
            <a:r>
              <a:rPr lang="sv-SE" b="1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15,5 mdr SEK</a:t>
            </a:r>
          </a:p>
        </p:txBody>
      </p:sp>
      <p:sp>
        <p:nvSpPr>
          <p:cNvPr id="44" name="textruta 43"/>
          <p:cNvSpPr txBox="1"/>
          <p:nvPr/>
        </p:nvSpPr>
        <p:spPr>
          <a:xfrm>
            <a:off x="4954540" y="1624476"/>
            <a:ext cx="2041583" cy="923330"/>
          </a:xfrm>
          <a:prstGeom prst="rect">
            <a:avLst/>
          </a:prstGeom>
          <a:solidFill>
            <a:schemeClr val="bg1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sv-SE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Kapacitetsökning på Värmlandsbanan</a:t>
            </a:r>
            <a:br>
              <a:rPr lang="sv-SE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</a:br>
            <a:r>
              <a:rPr lang="sv-SE" dirty="0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 och </a:t>
            </a:r>
            <a:r>
              <a:rPr lang="sv-SE" dirty="0" err="1">
                <a:solidFill>
                  <a:schemeClr val="tx1">
                    <a:lumMod val="50000"/>
                    <a:lumOff val="50000"/>
                  </a:schemeClr>
                </a:solidFill>
                <a:cs typeface="Gill Sans Light" panose="020B0302020104020203" pitchFamily="34" charset="-79"/>
              </a:rPr>
              <a:t>Mälarbanan</a:t>
            </a:r>
            <a:endParaRPr lang="sv-SE" dirty="0">
              <a:solidFill>
                <a:schemeClr val="tx1">
                  <a:lumMod val="50000"/>
                  <a:lumOff val="50000"/>
                </a:schemeClr>
              </a:solidFill>
              <a:cs typeface="Gill Sans Light" panose="020B0302020104020203" pitchFamily="34" charset="-79"/>
            </a:endParaRPr>
          </a:p>
        </p:txBody>
      </p:sp>
      <p:sp>
        <p:nvSpPr>
          <p:cNvPr id="41" name="Ellips 40">
            <a:extLst>
              <a:ext uri="{FF2B5EF4-FFF2-40B4-BE49-F238E27FC236}">
                <a16:creationId xmlns:a16="http://schemas.microsoft.com/office/drawing/2014/main" id="{C0A0B310-524A-624A-82EF-56C7AF748D1B}"/>
              </a:ext>
            </a:extLst>
          </p:cNvPr>
          <p:cNvSpPr/>
          <p:nvPr/>
        </p:nvSpPr>
        <p:spPr>
          <a:xfrm>
            <a:off x="3502710" y="2305896"/>
            <a:ext cx="180000" cy="180000"/>
          </a:xfrm>
          <a:prstGeom prst="ellipse">
            <a:avLst/>
          </a:prstGeom>
          <a:noFill/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49" name="Rak pil 48">
            <a:extLst>
              <a:ext uri="{FF2B5EF4-FFF2-40B4-BE49-F238E27FC236}">
                <a16:creationId xmlns:a16="http://schemas.microsoft.com/office/drawing/2014/main" id="{4121100D-1310-2643-9B24-AB6E94EAAB52}"/>
              </a:ext>
            </a:extLst>
          </p:cNvPr>
          <p:cNvCxnSpPr>
            <a:cxnSpLocks/>
          </p:cNvCxnSpPr>
          <p:nvPr/>
        </p:nvCxnSpPr>
        <p:spPr>
          <a:xfrm>
            <a:off x="3715860" y="2454204"/>
            <a:ext cx="880368" cy="478042"/>
          </a:xfrm>
          <a:prstGeom prst="straightConnector1">
            <a:avLst/>
          </a:prstGeom>
          <a:ln w="508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ruta 50">
            <a:extLst>
              <a:ext uri="{FF2B5EF4-FFF2-40B4-BE49-F238E27FC236}">
                <a16:creationId xmlns:a16="http://schemas.microsoft.com/office/drawing/2014/main" id="{87C369D0-7AA2-C54D-8C18-B0BB2058DC52}"/>
              </a:ext>
            </a:extLst>
          </p:cNvPr>
          <p:cNvSpPr txBox="1"/>
          <p:nvPr/>
        </p:nvSpPr>
        <p:spPr>
          <a:xfrm rot="1687378">
            <a:off x="3731313" y="2363140"/>
            <a:ext cx="1006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0:24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5A00F0EE-1911-724F-B40C-9CE9483A10CE}"/>
              </a:ext>
            </a:extLst>
          </p:cNvPr>
          <p:cNvSpPr txBox="1"/>
          <p:nvPr/>
        </p:nvSpPr>
        <p:spPr>
          <a:xfrm>
            <a:off x="3316787" y="2484016"/>
            <a:ext cx="443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+2</a:t>
            </a:r>
          </a:p>
        </p:txBody>
      </p:sp>
      <p:sp>
        <p:nvSpPr>
          <p:cNvPr id="58" name="textruta 57">
            <a:extLst>
              <a:ext uri="{FF2B5EF4-FFF2-40B4-BE49-F238E27FC236}">
                <a16:creationId xmlns:a16="http://schemas.microsoft.com/office/drawing/2014/main" id="{4B2A4104-3CCA-9D45-AD44-B0DA8519C365}"/>
              </a:ext>
            </a:extLst>
          </p:cNvPr>
          <p:cNvSpPr txBox="1"/>
          <p:nvPr/>
        </p:nvSpPr>
        <p:spPr>
          <a:xfrm>
            <a:off x="4515269" y="3131272"/>
            <a:ext cx="443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+2</a:t>
            </a:r>
          </a:p>
        </p:txBody>
      </p:sp>
      <p:sp>
        <p:nvSpPr>
          <p:cNvPr id="59" name="textruta 58">
            <a:extLst>
              <a:ext uri="{FF2B5EF4-FFF2-40B4-BE49-F238E27FC236}">
                <a16:creationId xmlns:a16="http://schemas.microsoft.com/office/drawing/2014/main" id="{CC98B996-0697-0249-8D19-34C061B486E7}"/>
              </a:ext>
            </a:extLst>
          </p:cNvPr>
          <p:cNvSpPr txBox="1"/>
          <p:nvPr/>
        </p:nvSpPr>
        <p:spPr>
          <a:xfrm>
            <a:off x="6616544" y="3376443"/>
            <a:ext cx="443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+2</a:t>
            </a:r>
          </a:p>
        </p:txBody>
      </p:sp>
      <p:sp>
        <p:nvSpPr>
          <p:cNvPr id="60" name="textruta 59">
            <a:extLst>
              <a:ext uri="{FF2B5EF4-FFF2-40B4-BE49-F238E27FC236}">
                <a16:creationId xmlns:a16="http://schemas.microsoft.com/office/drawing/2014/main" id="{6F9F7BDD-FEA2-D348-B522-B508EBD45BA3}"/>
              </a:ext>
            </a:extLst>
          </p:cNvPr>
          <p:cNvSpPr txBox="1"/>
          <p:nvPr/>
        </p:nvSpPr>
        <p:spPr>
          <a:xfrm>
            <a:off x="8260015" y="2010074"/>
            <a:ext cx="443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+2</a:t>
            </a:r>
          </a:p>
        </p:txBody>
      </p:sp>
      <p:sp>
        <p:nvSpPr>
          <p:cNvPr id="61" name="textruta 60">
            <a:extLst>
              <a:ext uri="{FF2B5EF4-FFF2-40B4-BE49-F238E27FC236}">
                <a16:creationId xmlns:a16="http://schemas.microsoft.com/office/drawing/2014/main" id="{99A9B673-C776-8C40-8ADE-1E92E8E37CED}"/>
              </a:ext>
            </a:extLst>
          </p:cNvPr>
          <p:cNvSpPr txBox="1"/>
          <p:nvPr/>
        </p:nvSpPr>
        <p:spPr>
          <a:xfrm>
            <a:off x="8222289" y="3163650"/>
            <a:ext cx="443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>
                <a:solidFill>
                  <a:srgbClr val="FF0000"/>
                </a:solidFill>
                <a:cs typeface="Gill Sans" panose="020B0502020104020203" pitchFamily="34" charset="-79"/>
              </a:rPr>
              <a:t>+2</a:t>
            </a:r>
          </a:p>
        </p:txBody>
      </p:sp>
    </p:spTree>
    <p:extLst>
      <p:ext uri="{BB962C8B-B14F-4D97-AF65-F5344CB8AC3E}">
        <p14:creationId xmlns:p14="http://schemas.microsoft.com/office/powerpoint/2010/main" val="8516551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jer, vatten, grön, stor&#10;&#10;Automatiskt genererad beskrivning">
            <a:extLst>
              <a:ext uri="{FF2B5EF4-FFF2-40B4-BE49-F238E27FC236}">
                <a16:creationId xmlns:a16="http://schemas.microsoft.com/office/drawing/2014/main" id="{96FB7518-C705-0944-9F28-B0B01CE5DE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021" y="0"/>
            <a:ext cx="12192000" cy="6230984"/>
          </a:xfrm>
          <a:prstGeom prst="rect">
            <a:avLst/>
          </a:prstGeom>
        </p:spPr>
      </p:pic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smtClean="0"/>
              <a:t>4</a:t>
            </a:fld>
            <a:endParaRPr lang="en-GB"/>
          </a:p>
        </p:txBody>
      </p:sp>
      <p:cxnSp>
        <p:nvCxnSpPr>
          <p:cNvPr id="18" name="Rak pil 17"/>
          <p:cNvCxnSpPr>
            <a:cxnSpLocks/>
          </p:cNvCxnSpPr>
          <p:nvPr/>
        </p:nvCxnSpPr>
        <p:spPr>
          <a:xfrm>
            <a:off x="10958840" y="2156868"/>
            <a:ext cx="181466" cy="1435547"/>
          </a:xfrm>
          <a:prstGeom prst="straightConnector1">
            <a:avLst/>
          </a:prstGeom>
          <a:ln w="50800">
            <a:solidFill>
              <a:srgbClr val="FF0000">
                <a:alpha val="8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ruta 28"/>
          <p:cNvSpPr txBox="1"/>
          <p:nvPr/>
        </p:nvSpPr>
        <p:spPr>
          <a:xfrm>
            <a:off x="9938627" y="1431322"/>
            <a:ext cx="2065080" cy="646331"/>
          </a:xfrm>
          <a:prstGeom prst="rect">
            <a:avLst/>
          </a:prstGeom>
          <a:solidFill>
            <a:schemeClr val="bg1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r>
              <a:rPr lang="sv-SE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4-spår till Sthlm C, byggs nu, klart 2030</a:t>
            </a:r>
          </a:p>
        </p:txBody>
      </p:sp>
      <p:cxnSp>
        <p:nvCxnSpPr>
          <p:cNvPr id="12" name="Rak pil 11"/>
          <p:cNvCxnSpPr>
            <a:cxnSpLocks/>
          </p:cNvCxnSpPr>
          <p:nvPr/>
        </p:nvCxnSpPr>
        <p:spPr>
          <a:xfrm flipV="1">
            <a:off x="6095999" y="4200526"/>
            <a:ext cx="357262" cy="571499"/>
          </a:xfrm>
          <a:prstGeom prst="straightConnector1">
            <a:avLst/>
          </a:prstGeom>
          <a:ln w="50800">
            <a:solidFill>
              <a:srgbClr val="FF0000">
                <a:alpha val="8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ruta 25"/>
          <p:cNvSpPr txBox="1"/>
          <p:nvPr/>
        </p:nvSpPr>
        <p:spPr>
          <a:xfrm>
            <a:off x="5342294" y="4878652"/>
            <a:ext cx="1507410" cy="923330"/>
          </a:xfrm>
          <a:prstGeom prst="rect">
            <a:avLst/>
          </a:prstGeom>
          <a:solidFill>
            <a:schemeClr val="bg1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r>
              <a:rPr lang="sv-SE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Utredning</a:t>
            </a:r>
            <a:br>
              <a:rPr lang="sv-SE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</a:br>
            <a:r>
              <a:rPr lang="sv-SE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Nobelbanan</a:t>
            </a:r>
          </a:p>
          <a:p>
            <a:r>
              <a:rPr lang="sv-SE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startar 2022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12691567-8AB1-B344-86F2-5A790A3603D6}"/>
              </a:ext>
            </a:extLst>
          </p:cNvPr>
          <p:cNvSpPr txBox="1"/>
          <p:nvPr/>
        </p:nvSpPr>
        <p:spPr>
          <a:xfrm>
            <a:off x="7398693" y="1432627"/>
            <a:ext cx="2025716" cy="923330"/>
          </a:xfrm>
          <a:prstGeom prst="rect">
            <a:avLst/>
          </a:prstGeom>
          <a:solidFill>
            <a:schemeClr val="bg1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Funktionsutredning</a:t>
            </a:r>
          </a:p>
          <a:p>
            <a: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Kolbäck till Örebro,</a:t>
            </a:r>
            <a:b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</a:br>
            <a: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klar februari 2021</a:t>
            </a:r>
          </a:p>
        </p:txBody>
      </p:sp>
      <p:cxnSp>
        <p:nvCxnSpPr>
          <p:cNvPr id="20" name="Rak pil 19">
            <a:extLst>
              <a:ext uri="{FF2B5EF4-FFF2-40B4-BE49-F238E27FC236}">
                <a16:creationId xmlns:a16="http://schemas.microsoft.com/office/drawing/2014/main" id="{474DC751-301F-6044-8B15-D503824AEB88}"/>
              </a:ext>
            </a:extLst>
          </p:cNvPr>
          <p:cNvCxnSpPr>
            <a:cxnSpLocks/>
          </p:cNvCxnSpPr>
          <p:nvPr/>
        </p:nvCxnSpPr>
        <p:spPr>
          <a:xfrm flipH="1">
            <a:off x="8161701" y="2505670"/>
            <a:ext cx="255463" cy="923330"/>
          </a:xfrm>
          <a:prstGeom prst="straightConnector1">
            <a:avLst/>
          </a:prstGeom>
          <a:ln w="50800">
            <a:solidFill>
              <a:srgbClr val="FF0000">
                <a:alpha val="8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pil 14"/>
          <p:cNvCxnSpPr>
            <a:cxnSpLocks/>
          </p:cNvCxnSpPr>
          <p:nvPr/>
        </p:nvCxnSpPr>
        <p:spPr>
          <a:xfrm>
            <a:off x="9645625" y="1253632"/>
            <a:ext cx="182696" cy="1629643"/>
          </a:xfrm>
          <a:prstGeom prst="straightConnector1">
            <a:avLst/>
          </a:prstGeom>
          <a:ln w="50800">
            <a:solidFill>
              <a:srgbClr val="FF0000">
                <a:alpha val="8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ruta 21">
            <a:extLst>
              <a:ext uri="{FF2B5EF4-FFF2-40B4-BE49-F238E27FC236}">
                <a16:creationId xmlns:a16="http://schemas.microsoft.com/office/drawing/2014/main" id="{7D0E32FC-9519-2440-8FEE-31EEA4A5C4F1}"/>
              </a:ext>
            </a:extLst>
          </p:cNvPr>
          <p:cNvSpPr txBox="1"/>
          <p:nvPr/>
        </p:nvSpPr>
        <p:spPr>
          <a:xfrm>
            <a:off x="8427408" y="542782"/>
            <a:ext cx="2712898" cy="646331"/>
          </a:xfrm>
          <a:prstGeom prst="rect">
            <a:avLst/>
          </a:prstGeom>
          <a:solidFill>
            <a:schemeClr val="bg1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250 km/h på </a:t>
            </a:r>
            <a:r>
              <a:rPr lang="sv-SE" dirty="0" err="1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Mälarbanan</a:t>
            </a:r>
            <a: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,</a:t>
            </a:r>
          </a:p>
          <a:p>
            <a: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utredning klar</a:t>
            </a:r>
          </a:p>
        </p:txBody>
      </p:sp>
      <p:cxnSp>
        <p:nvCxnSpPr>
          <p:cNvPr id="27" name="Rak pil 26">
            <a:extLst>
              <a:ext uri="{FF2B5EF4-FFF2-40B4-BE49-F238E27FC236}">
                <a16:creationId xmlns:a16="http://schemas.microsoft.com/office/drawing/2014/main" id="{0304C245-12A7-EA49-93EE-CCEB17B0CC4B}"/>
              </a:ext>
            </a:extLst>
          </p:cNvPr>
          <p:cNvCxnSpPr>
            <a:cxnSpLocks/>
          </p:cNvCxnSpPr>
          <p:nvPr/>
        </p:nvCxnSpPr>
        <p:spPr>
          <a:xfrm>
            <a:off x="7189721" y="1253632"/>
            <a:ext cx="96924" cy="2752216"/>
          </a:xfrm>
          <a:prstGeom prst="straightConnector1">
            <a:avLst/>
          </a:prstGeom>
          <a:ln w="50800">
            <a:solidFill>
              <a:srgbClr val="FF0000">
                <a:alpha val="8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ruta 33">
            <a:extLst>
              <a:ext uri="{FF2B5EF4-FFF2-40B4-BE49-F238E27FC236}">
                <a16:creationId xmlns:a16="http://schemas.microsoft.com/office/drawing/2014/main" id="{6FB10086-D82E-A44F-8C55-8747B07D0027}"/>
              </a:ext>
            </a:extLst>
          </p:cNvPr>
          <p:cNvSpPr txBox="1"/>
          <p:nvPr/>
        </p:nvSpPr>
        <p:spPr>
          <a:xfrm>
            <a:off x="6247684" y="541976"/>
            <a:ext cx="1862665" cy="646331"/>
          </a:xfrm>
          <a:prstGeom prst="rect">
            <a:avLst/>
          </a:prstGeom>
          <a:solidFill>
            <a:schemeClr val="bg1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r>
              <a:rPr lang="sv-SE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Utredning genom Örebro, klar</a:t>
            </a:r>
          </a:p>
        </p:txBody>
      </p:sp>
      <p:cxnSp>
        <p:nvCxnSpPr>
          <p:cNvPr id="39" name="Rak pil 38">
            <a:extLst>
              <a:ext uri="{FF2B5EF4-FFF2-40B4-BE49-F238E27FC236}">
                <a16:creationId xmlns:a16="http://schemas.microsoft.com/office/drawing/2014/main" id="{07CBD422-2199-7A40-8E08-0DA692356BDC}"/>
              </a:ext>
            </a:extLst>
          </p:cNvPr>
          <p:cNvCxnSpPr>
            <a:cxnSpLocks/>
          </p:cNvCxnSpPr>
          <p:nvPr/>
        </p:nvCxnSpPr>
        <p:spPr>
          <a:xfrm flipH="1">
            <a:off x="5276025" y="2429093"/>
            <a:ext cx="291227" cy="1179499"/>
          </a:xfrm>
          <a:prstGeom prst="straightConnector1">
            <a:avLst/>
          </a:prstGeom>
          <a:ln w="50800">
            <a:solidFill>
              <a:srgbClr val="FF0000">
                <a:alpha val="8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ruta 40">
            <a:extLst>
              <a:ext uri="{FF2B5EF4-FFF2-40B4-BE49-F238E27FC236}">
                <a16:creationId xmlns:a16="http://schemas.microsoft.com/office/drawing/2014/main" id="{DFE61F4D-41D5-CB45-AA2A-1C115E64A0B4}"/>
              </a:ext>
            </a:extLst>
          </p:cNvPr>
          <p:cNvSpPr txBox="1"/>
          <p:nvPr/>
        </p:nvSpPr>
        <p:spPr>
          <a:xfrm>
            <a:off x="4507906" y="1442955"/>
            <a:ext cx="2118693" cy="923330"/>
          </a:xfrm>
          <a:prstGeom prst="rect">
            <a:avLst/>
          </a:prstGeom>
          <a:solidFill>
            <a:schemeClr val="bg1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Fördjupad utredning Värmlandsbanan,</a:t>
            </a:r>
          </a:p>
          <a:p>
            <a: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remiss ute nu</a:t>
            </a:r>
          </a:p>
        </p:txBody>
      </p:sp>
      <p:sp>
        <p:nvSpPr>
          <p:cNvPr id="48" name="textruta 47">
            <a:extLst>
              <a:ext uri="{FF2B5EF4-FFF2-40B4-BE49-F238E27FC236}">
                <a16:creationId xmlns:a16="http://schemas.microsoft.com/office/drawing/2014/main" id="{CDE32B38-9742-2049-BCBA-9757033398C4}"/>
              </a:ext>
            </a:extLst>
          </p:cNvPr>
          <p:cNvSpPr txBox="1"/>
          <p:nvPr/>
        </p:nvSpPr>
        <p:spPr>
          <a:xfrm>
            <a:off x="3455132" y="537585"/>
            <a:ext cx="2460747" cy="646331"/>
          </a:xfrm>
          <a:prstGeom prst="rect">
            <a:avLst/>
          </a:prstGeom>
          <a:solidFill>
            <a:schemeClr val="bg1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KVU Kongsvingerbanan,</a:t>
            </a:r>
          </a:p>
          <a:p>
            <a:r>
              <a:rPr lang="sv-SE" dirty="0">
                <a:solidFill>
                  <a:schemeClr val="bg1">
                    <a:lumMod val="50000"/>
                  </a:schemeClr>
                </a:solidFill>
                <a:cs typeface="Gill Sans Light" panose="020B0302020104020203" pitchFamily="34" charset="-79"/>
              </a:rPr>
              <a:t>klar 2020/2021</a:t>
            </a:r>
          </a:p>
        </p:txBody>
      </p:sp>
      <p:cxnSp>
        <p:nvCxnSpPr>
          <p:cNvPr id="49" name="Rak pil 48">
            <a:extLst>
              <a:ext uri="{FF2B5EF4-FFF2-40B4-BE49-F238E27FC236}">
                <a16:creationId xmlns:a16="http://schemas.microsoft.com/office/drawing/2014/main" id="{09579549-A1B9-104B-A0EB-754B1A2113C3}"/>
              </a:ext>
            </a:extLst>
          </p:cNvPr>
          <p:cNvCxnSpPr>
            <a:cxnSpLocks/>
          </p:cNvCxnSpPr>
          <p:nvPr/>
        </p:nvCxnSpPr>
        <p:spPr>
          <a:xfrm flipH="1">
            <a:off x="2363678" y="871928"/>
            <a:ext cx="1025507" cy="381704"/>
          </a:xfrm>
          <a:prstGeom prst="straightConnector1">
            <a:avLst/>
          </a:prstGeom>
          <a:ln w="50800">
            <a:solidFill>
              <a:srgbClr val="FF0000">
                <a:alpha val="8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Rak pil 58">
            <a:extLst>
              <a:ext uri="{FF2B5EF4-FFF2-40B4-BE49-F238E27FC236}">
                <a16:creationId xmlns:a16="http://schemas.microsoft.com/office/drawing/2014/main" id="{FFCE02F1-D283-404E-813D-9254C6A815DE}"/>
              </a:ext>
            </a:extLst>
          </p:cNvPr>
          <p:cNvCxnSpPr>
            <a:cxnSpLocks/>
          </p:cNvCxnSpPr>
          <p:nvPr/>
        </p:nvCxnSpPr>
        <p:spPr>
          <a:xfrm flipH="1" flipV="1">
            <a:off x="2230759" y="2429093"/>
            <a:ext cx="241900" cy="1576755"/>
          </a:xfrm>
          <a:prstGeom prst="straightConnector1">
            <a:avLst/>
          </a:prstGeom>
          <a:ln w="50800">
            <a:solidFill>
              <a:srgbClr val="FF0000">
                <a:alpha val="8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ruta 63">
            <a:extLst>
              <a:ext uri="{FF2B5EF4-FFF2-40B4-BE49-F238E27FC236}">
                <a16:creationId xmlns:a16="http://schemas.microsoft.com/office/drawing/2014/main" id="{FAA4D555-02D8-E448-A492-CDD249CC3FE1}"/>
              </a:ext>
            </a:extLst>
          </p:cNvPr>
          <p:cNvSpPr txBox="1"/>
          <p:nvPr/>
        </p:nvSpPr>
        <p:spPr>
          <a:xfrm>
            <a:off x="738906" y="4095541"/>
            <a:ext cx="3490360" cy="830997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2400" b="1" dirty="0">
                <a:solidFill>
                  <a:schemeClr val="bg1"/>
                </a:solidFill>
                <a:cs typeface="Gill Sans Light" panose="020B0302020104020203" pitchFamily="34" charset="-79"/>
              </a:rPr>
              <a:t>Utredning ny </a:t>
            </a:r>
            <a:r>
              <a:rPr lang="sv-SE" sz="2400" b="1" dirty="0" err="1">
                <a:solidFill>
                  <a:schemeClr val="bg1"/>
                </a:solidFill>
                <a:cs typeface="Gill Sans Light" panose="020B0302020104020203" pitchFamily="34" charset="-79"/>
              </a:rPr>
              <a:t>Gränsbana</a:t>
            </a:r>
            <a:r>
              <a:rPr lang="sv-SE" sz="2400" b="1" dirty="0">
                <a:solidFill>
                  <a:schemeClr val="bg1"/>
                </a:solidFill>
                <a:cs typeface="Gill Sans Light" panose="020B0302020104020203" pitchFamily="34" charset="-79"/>
              </a:rPr>
              <a:t>?</a:t>
            </a:r>
          </a:p>
          <a:p>
            <a:r>
              <a:rPr lang="sv-SE" sz="2400" i="1" dirty="0">
                <a:solidFill>
                  <a:schemeClr val="bg1"/>
                </a:solidFill>
                <a:cs typeface="Gill Sans Light" panose="020B0302020104020203" pitchFamily="34" charset="-79"/>
              </a:rPr>
              <a:t>ÅVS Sthlm-Oslo klar</a:t>
            </a:r>
          </a:p>
        </p:txBody>
      </p:sp>
      <p:cxnSp>
        <p:nvCxnSpPr>
          <p:cNvPr id="66" name="Rak pil 65">
            <a:extLst>
              <a:ext uri="{FF2B5EF4-FFF2-40B4-BE49-F238E27FC236}">
                <a16:creationId xmlns:a16="http://schemas.microsoft.com/office/drawing/2014/main" id="{9FF5A440-2324-8E4E-92F3-AF0A0FE98AA5}"/>
              </a:ext>
            </a:extLst>
          </p:cNvPr>
          <p:cNvCxnSpPr>
            <a:cxnSpLocks/>
          </p:cNvCxnSpPr>
          <p:nvPr/>
        </p:nvCxnSpPr>
        <p:spPr>
          <a:xfrm flipH="1" flipV="1">
            <a:off x="1942857" y="3234822"/>
            <a:ext cx="529802" cy="747541"/>
          </a:xfrm>
          <a:prstGeom prst="straightConnector1">
            <a:avLst/>
          </a:prstGeom>
          <a:ln w="50800">
            <a:solidFill>
              <a:srgbClr val="FF0000">
                <a:alpha val="8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ruta 35">
            <a:extLst>
              <a:ext uri="{FF2B5EF4-FFF2-40B4-BE49-F238E27FC236}">
                <a16:creationId xmlns:a16="http://schemas.microsoft.com/office/drawing/2014/main" id="{16551BC3-539F-A049-A506-85FA3E33515A}"/>
              </a:ext>
            </a:extLst>
          </p:cNvPr>
          <p:cNvSpPr txBox="1"/>
          <p:nvPr/>
        </p:nvSpPr>
        <p:spPr>
          <a:xfrm rot="864341">
            <a:off x="8511070" y="4113676"/>
            <a:ext cx="2626283" cy="1200329"/>
          </a:xfrm>
          <a:prstGeom prst="rect">
            <a:avLst/>
          </a:prstGeom>
          <a:solidFill>
            <a:srgbClr val="AFCB38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3600">
                <a:solidFill>
                  <a:schemeClr val="bg1"/>
                </a:solidFill>
                <a:cs typeface="Gill Sans" panose="020B0502020104020203" pitchFamily="34" charset="-79"/>
              </a:rPr>
              <a:t>NTP i Norge</a:t>
            </a:r>
            <a:br>
              <a:rPr lang="sv-SE" sz="3600">
                <a:solidFill>
                  <a:schemeClr val="bg1"/>
                </a:solidFill>
                <a:cs typeface="Gill Sans" panose="020B0502020104020203" pitchFamily="34" charset="-79"/>
              </a:rPr>
            </a:br>
            <a:r>
              <a:rPr lang="sv-SE" sz="3600">
                <a:solidFill>
                  <a:schemeClr val="bg1"/>
                </a:solidFill>
                <a:cs typeface="Gill Sans" panose="020B0502020104020203" pitchFamily="34" charset="-79"/>
              </a:rPr>
              <a:t>och i Sverige</a:t>
            </a:r>
          </a:p>
        </p:txBody>
      </p:sp>
    </p:spTree>
    <p:extLst>
      <p:ext uri="{BB962C8B-B14F-4D97-AF65-F5344CB8AC3E}">
        <p14:creationId xmlns:p14="http://schemas.microsoft.com/office/powerpoint/2010/main" val="37465056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C7B1B222-F4AE-B947-8591-70A8C29B57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50" t="3422" r="2083" b="1637"/>
          <a:stretch/>
        </p:blipFill>
        <p:spPr>
          <a:xfrm>
            <a:off x="861106" y="921489"/>
            <a:ext cx="6418116" cy="4820094"/>
          </a:xfrm>
          <a:prstGeom prst="rect">
            <a:avLst/>
          </a:prstGeom>
          <a:ln>
            <a:solidFill>
              <a:srgbClr val="AFCB38"/>
            </a:solidFill>
          </a:ln>
        </p:spPr>
      </p:pic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15159F-D355-D845-A168-DEFEDAF4B6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5</a:t>
            </a:fld>
            <a:endParaRPr lang="en-GB" noProof="0"/>
          </a:p>
        </p:txBody>
      </p:sp>
      <p:pic>
        <p:nvPicPr>
          <p:cNvPr id="8" name="Bildobjekt 7" descr="En bild som visar text&#10;&#10;Automatiskt genererad beskrivning">
            <a:extLst>
              <a:ext uri="{FF2B5EF4-FFF2-40B4-BE49-F238E27FC236}">
                <a16:creationId xmlns:a16="http://schemas.microsoft.com/office/drawing/2014/main" id="{5BBC702D-1233-C04A-8A09-8AFB740342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00805" y="1331662"/>
            <a:ext cx="1259727" cy="797380"/>
          </a:xfrm>
          <a:prstGeom prst="rect">
            <a:avLst/>
          </a:prstGeom>
        </p:spPr>
      </p:pic>
      <p:sp>
        <p:nvSpPr>
          <p:cNvPr id="11" name="textruta 10">
            <a:extLst>
              <a:ext uri="{FF2B5EF4-FFF2-40B4-BE49-F238E27FC236}">
                <a16:creationId xmlns:a16="http://schemas.microsoft.com/office/drawing/2014/main" id="{484EAF41-3493-D249-ACCF-351A3BBBFECF}"/>
              </a:ext>
            </a:extLst>
          </p:cNvPr>
          <p:cNvSpPr txBox="1"/>
          <p:nvPr/>
        </p:nvSpPr>
        <p:spPr>
          <a:xfrm>
            <a:off x="861106" y="5465752"/>
            <a:ext cx="3148763" cy="276999"/>
          </a:xfrm>
          <a:prstGeom prst="rect">
            <a:avLst/>
          </a:prstGeom>
          <a:solidFill>
            <a:srgbClr val="AFCB38"/>
          </a:solidFill>
          <a:ln>
            <a:solidFill>
              <a:srgbClr val="AFCB38"/>
            </a:solidFill>
          </a:ln>
        </p:spPr>
        <p:txBody>
          <a:bodyPr wrap="square" rtlCol="0">
            <a:spAutoFit/>
          </a:bodyPr>
          <a:lstStyle/>
          <a:p>
            <a:r>
              <a:rPr lang="sv-SE" sz="1200" dirty="0">
                <a:cs typeface="Gill Sans" panose="020B0502020104020203" pitchFamily="34" charset="-79"/>
              </a:rPr>
              <a:t>Möjligt trafikupplägg efter åtgärder, Trafikverket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C92D1306-B3E0-D44E-9DC2-B970AAAA8030}"/>
              </a:ext>
            </a:extLst>
          </p:cNvPr>
          <p:cNvSpPr/>
          <p:nvPr/>
        </p:nvSpPr>
        <p:spPr>
          <a:xfrm>
            <a:off x="5528603" y="1069145"/>
            <a:ext cx="1519311" cy="10598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27250052-11A7-1E40-83B1-14D12E741BD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11177">
            <a:off x="7992459" y="2204888"/>
            <a:ext cx="2524770" cy="358237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9" name="Ellips 8">
            <a:extLst>
              <a:ext uri="{FF2B5EF4-FFF2-40B4-BE49-F238E27FC236}">
                <a16:creationId xmlns:a16="http://schemas.microsoft.com/office/drawing/2014/main" id="{6FA04D52-3DD6-104E-8B05-7C8625F7E472}"/>
              </a:ext>
            </a:extLst>
          </p:cNvPr>
          <p:cNvSpPr/>
          <p:nvPr/>
        </p:nvSpPr>
        <p:spPr>
          <a:xfrm>
            <a:off x="7047914" y="1226634"/>
            <a:ext cx="501462" cy="6690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48DB755C-59AF-AB48-BA96-C8F66E04416F}"/>
              </a:ext>
            </a:extLst>
          </p:cNvPr>
          <p:cNvSpPr txBox="1"/>
          <p:nvPr/>
        </p:nvSpPr>
        <p:spPr>
          <a:xfrm>
            <a:off x="5329891" y="834792"/>
            <a:ext cx="6001003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2400" dirty="0">
                <a:cs typeface="Gill Sans SemiBold" panose="020B0502020104020203" pitchFamily="34" charset="-79"/>
              </a:rPr>
              <a:t>Fördjupad utredning</a:t>
            </a:r>
          </a:p>
          <a:p>
            <a:pPr algn="r"/>
            <a:r>
              <a:rPr lang="sv-SE" sz="4400" dirty="0">
                <a:cs typeface="Gill Sans SemiBold" panose="020B0502020104020203" pitchFamily="34" charset="-79"/>
              </a:rPr>
              <a:t>Värmlandsbanan</a:t>
            </a:r>
            <a:endParaRPr lang="sv-SE" sz="4400" dirty="0">
              <a:cs typeface="Gill Sans Light" panose="020B0302020104020203" pitchFamily="34" charset="-79"/>
            </a:endParaRPr>
          </a:p>
          <a:p>
            <a:pPr algn="r"/>
            <a:r>
              <a:rPr lang="sv-SE" dirty="0">
                <a:cs typeface="Gill Sans Light" panose="020B0302020104020203" pitchFamily="34" charset="-79"/>
              </a:rPr>
              <a:t>Remiss ute nu</a:t>
            </a:r>
          </a:p>
        </p:txBody>
      </p:sp>
    </p:spTree>
    <p:extLst>
      <p:ext uri="{BB962C8B-B14F-4D97-AF65-F5344CB8AC3E}">
        <p14:creationId xmlns:p14="http://schemas.microsoft.com/office/powerpoint/2010/main" val="5920573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32E0858-DBE6-3842-951D-B0152D927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latin typeface="+mn-lt"/>
              </a:rPr>
              <a:t>Lönsamhet nya länkar - koncession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23103AFA-C1E9-CD4C-B50A-9579F0DC4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6</a:t>
            </a:fld>
            <a:endParaRPr lang="en-GB" noProof="0"/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C737C220-BE69-5848-8D9F-DE94C399FEC4}"/>
              </a:ext>
            </a:extLst>
          </p:cNvPr>
          <p:cNvCxnSpPr/>
          <p:nvPr>
            <p:custDataLst>
              <p:tags r:id="rId1"/>
            </p:custDataLst>
          </p:nvPr>
        </p:nvCxnSpPr>
        <p:spPr bwMode="auto">
          <a:xfrm>
            <a:off x="2210275" y="4089573"/>
            <a:ext cx="3016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Connector 5">
            <a:extLst>
              <a:ext uri="{FF2B5EF4-FFF2-40B4-BE49-F238E27FC236}">
                <a16:creationId xmlns:a16="http://schemas.microsoft.com/office/drawing/2014/main" id="{9241C91D-3451-E548-A5FF-5055D26F3C7D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527650" y="4018135"/>
            <a:ext cx="303213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Connector 3">
            <a:extLst>
              <a:ext uri="{FF2B5EF4-FFF2-40B4-BE49-F238E27FC236}">
                <a16:creationId xmlns:a16="http://schemas.microsoft.com/office/drawing/2014/main" id="{A0899F7B-290A-F04A-939D-475FDA25EC9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891313" y="4149898"/>
            <a:ext cx="303213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6">
            <a:extLst>
              <a:ext uri="{FF2B5EF4-FFF2-40B4-BE49-F238E27FC236}">
                <a16:creationId xmlns:a16="http://schemas.microsoft.com/office/drawing/2014/main" id="{0766248A-E395-F541-A2C2-75D603E13BB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573938" y="4534073"/>
            <a:ext cx="3016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7">
            <a:extLst>
              <a:ext uri="{FF2B5EF4-FFF2-40B4-BE49-F238E27FC236}">
                <a16:creationId xmlns:a16="http://schemas.microsoft.com/office/drawing/2014/main" id="{D7C688F2-EA64-1B41-8406-61D631D57EB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254975" y="2371898"/>
            <a:ext cx="303213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8">
            <a:extLst>
              <a:ext uri="{FF2B5EF4-FFF2-40B4-BE49-F238E27FC236}">
                <a16:creationId xmlns:a16="http://schemas.microsoft.com/office/drawing/2014/main" id="{C6B3AA17-7376-B645-8048-E1FF6844D7D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937600" y="2244898"/>
            <a:ext cx="3016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6" name="Chart 89">
            <a:extLst>
              <a:ext uri="{FF2B5EF4-FFF2-40B4-BE49-F238E27FC236}">
                <a16:creationId xmlns:a16="http://schemas.microsoft.com/office/drawing/2014/main" id="{70B7DACC-A77E-4345-B399-CB2C6030D62A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04597491"/>
              </p:ext>
            </p:extLst>
          </p:nvPr>
        </p:nvGraphicFramePr>
        <p:xfrm>
          <a:off x="594200" y="2044873"/>
          <a:ext cx="5259388" cy="317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17" name="Rectangle 9">
            <a:extLst>
              <a:ext uri="{FF2B5EF4-FFF2-40B4-BE49-F238E27FC236}">
                <a16:creationId xmlns:a16="http://schemas.microsoft.com/office/drawing/2014/main" id="{09AA8E12-C607-C946-BCD4-94ECC40EBB1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875563" y="3062460"/>
            <a:ext cx="379413" cy="34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18" name="Rectangle 18">
            <a:extLst>
              <a:ext uri="{FF2B5EF4-FFF2-40B4-BE49-F238E27FC236}">
                <a16:creationId xmlns:a16="http://schemas.microsoft.com/office/drawing/2014/main" id="{11C08910-2C5F-EA4F-BA70-38430B2555E8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296125" y="426578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1AA9451-7465-41CC-B8AB-24809B650693}" type="datetime'10'''''''''''''''''''''''''''''''''''''''''''''''''''">
              <a:rPr lang="sv-SE" altLang="en-US" sz="1000" b="1" smtClean="0">
                <a:solidFill>
                  <a:schemeClr val="bg1"/>
                </a:solidFill>
              </a:rPr>
              <a:pPr/>
              <a:t>10</a:t>
            </a:fld>
            <a:endParaRPr lang="sv-SE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Rectangle 17">
            <a:extLst>
              <a:ext uri="{FF2B5EF4-FFF2-40B4-BE49-F238E27FC236}">
                <a16:creationId xmlns:a16="http://schemas.microsoft.com/office/drawing/2014/main" id="{F684DBCD-F5EA-B849-8901-B42770E6E19F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648425" y="4043535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1FF030D-C65E-4581-AA6F-E644C096C291}" type="datetime'''''''''''''''''''''''''''2'''''''''''''''">
              <a:rPr lang="sv-SE" altLang="en-US" sz="1000" b="1" smtClean="0">
                <a:solidFill>
                  <a:schemeClr val="bg1"/>
                </a:solidFill>
              </a:rPr>
              <a:pPr/>
              <a:t>2</a:t>
            </a:fld>
            <a:endParaRPr lang="sv-SE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" name="Rectangle 13">
            <a:extLst>
              <a:ext uri="{FF2B5EF4-FFF2-40B4-BE49-F238E27FC236}">
                <a16:creationId xmlns:a16="http://schemas.microsoft.com/office/drawing/2014/main" id="{20DB6944-29F2-3F46-AC95-85A77D7A3478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054574" y="5081727"/>
            <a:ext cx="5651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08ACC3-2281-4A2D-B4AA-3CFBFC357467}" type="datetime'I''n''''''it''i''''a''l i''''nve''s''''te''ring'''''''">
              <a:rPr lang="sv-SE" altLang="en-US" sz="800" smtClean="0">
                <a:cs typeface="Gill Sans Light" panose="020B0302020104020203" pitchFamily="34" charset="-79"/>
                <a:sym typeface="+mn-lt"/>
              </a:rPr>
              <a:pPr algn="ctr">
                <a:spcAft>
                  <a:spcPct val="0"/>
                </a:spcAft>
              </a:pPr>
              <a:t>Initial investering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21" name="Rectangle 14">
            <a:extLst>
              <a:ext uri="{FF2B5EF4-FFF2-40B4-BE49-F238E27FC236}">
                <a16:creationId xmlns:a16="http://schemas.microsoft.com/office/drawing/2014/main" id="{3D1491FF-4FFA-AA4C-8A2C-D5355EB252CB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967388" y="3976860"/>
            <a:ext cx="1047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B46085D4-A695-483B-B14C-0E93170DBD48}" type="datetime'''''''''2'''''''''''''''''''''''''''''''''''''''''''''''''">
              <a:rPr lang="sv-SE" altLang="en-US" sz="1000" b="1" smtClean="0">
                <a:solidFill>
                  <a:schemeClr val="bg1"/>
                </a:solidFill>
              </a:rPr>
              <a:pPr/>
              <a:t>2</a:t>
            </a:fld>
            <a:endParaRPr lang="sv-SE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3" name="Rectangle 19">
            <a:extLst>
              <a:ext uri="{FF2B5EF4-FFF2-40B4-BE49-F238E27FC236}">
                <a16:creationId xmlns:a16="http://schemas.microsoft.com/office/drawing/2014/main" id="{005F5531-D05F-174C-B1D9-BB6E8CF5BFFB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3246912" y="5081728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33625C4-5545-4E31-AB4D-24E95F05B9B8}" type="datetime'''''''''''''''''Sk''''at''''''''''''''''''t'''''''''">
              <a:rPr lang="sv-SE" altLang="en-US" sz="800" smtClean="0">
                <a:cs typeface="Gill Sans Light" panose="020B0302020104020203" pitchFamily="34" charset="-79"/>
                <a:sym typeface="+mn-lt"/>
              </a:rPr>
              <a:pPr algn="ctr">
                <a:spcAft>
                  <a:spcPct val="0"/>
                </a:spcAft>
              </a:pPr>
              <a:t>Skatt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744CEE5A-6F87-2F4D-8A6D-9AC6F6F845B5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613374" y="5081728"/>
            <a:ext cx="8128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2287237-69CE-4A8C-85A0-8260557DD838}" type="datetime'Re''''''i''n''v''e''s''''t''''''e''''ri''ng''a''''''''r'''">
              <a:rPr lang="sv-SE" altLang="en-US" sz="800" smtClean="0">
                <a:cs typeface="Gill Sans Light" panose="020B0302020104020203" pitchFamily="34" charset="-79"/>
                <a:sym typeface="+mn-lt"/>
              </a:rPr>
              <a:pPr algn="ctr">
                <a:spcAft>
                  <a:spcPct val="0"/>
                </a:spcAft>
              </a:pPr>
              <a:t>Reinvesteringar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25" name="Rectangle 16">
            <a:extLst>
              <a:ext uri="{FF2B5EF4-FFF2-40B4-BE49-F238E27FC236}">
                <a16:creationId xmlns:a16="http://schemas.microsoft.com/office/drawing/2014/main" id="{10E2CA15-8B05-194D-B2B4-F5E7516CA5DB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180113" y="5081727"/>
            <a:ext cx="10414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676768DE-A782-455B-8432-C03BEFE33201}" type="datetime'D''rif''t- ''och ''''u''nde''r''håll''skos''t''n''''''ader'">
              <a:rPr lang="sv-SE" altLang="en-US" sz="800" smtClean="0">
                <a:cs typeface="Gill Sans Light" panose="020B0302020104020203" pitchFamily="34" charset="-79"/>
                <a:sym typeface="+mn-lt"/>
              </a:rPr>
              <a:pPr algn="ctr">
                <a:spcAft>
                  <a:spcPct val="0"/>
                </a:spcAft>
              </a:pPr>
              <a:t>Drift- och underhållskostnader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4B361757-59CC-DE4D-96EC-BCAEC51DF949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3977163" y="337678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8089952-73AE-4372-B657-A1B1062D267C}" type="datetime'''''''''''''5''''''''''''''''''''''''''''''''''8'">
              <a:rPr lang="sv-SE" altLang="en-US" sz="1000" b="1" smtClean="0"/>
              <a:pPr/>
              <a:t>58</a:t>
            </a:fld>
            <a:endParaRPr lang="sv-SE" sz="1000" b="1" dirty="0">
              <a:sym typeface="+mn-lt"/>
            </a:endParaRPr>
          </a:p>
        </p:txBody>
      </p:sp>
      <p:sp>
        <p:nvSpPr>
          <p:cNvPr id="27" name="Rectangle 21">
            <a:extLst>
              <a:ext uri="{FF2B5EF4-FFF2-40B4-BE49-F238E27FC236}">
                <a16:creationId xmlns:a16="http://schemas.microsoft.com/office/drawing/2014/main" id="{6D864701-3ADC-3742-93A7-2C6EA7C79F6D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867624" y="5081728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40D8E6B-27EC-4962-9C63-DEB8BCDDFCE8}" type="datetime'''I''n''''''''''t''ä''''''''''k''''''''''t''''er'''">
              <a:rPr lang="sv-SE" altLang="en-US" sz="800" smtClean="0">
                <a:cs typeface="Gill Sans Light" panose="020B0302020104020203" pitchFamily="34" charset="-79"/>
                <a:sym typeface="+mn-lt"/>
              </a:rPr>
              <a:pPr algn="ctr">
                <a:spcAft>
                  <a:spcPct val="0"/>
                </a:spcAft>
              </a:pPr>
              <a:t>Intäkter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28" name="Rectangle 22">
            <a:extLst>
              <a:ext uri="{FF2B5EF4-FFF2-40B4-BE49-F238E27FC236}">
                <a16:creationId xmlns:a16="http://schemas.microsoft.com/office/drawing/2014/main" id="{4047F151-10FB-D349-83F8-6B32B57EE08B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4480400" y="5081728"/>
            <a:ext cx="533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7F4BEE4-E081-461B-B679-E8A4750F1800}" type="datetime'''''''Res''t''''''''''''''''v''är''''''''''de'''''''''''''">
              <a:rPr lang="sv-SE" altLang="en-US" sz="800" smtClean="0">
                <a:cs typeface="Gill Sans Light" panose="020B0302020104020203" pitchFamily="34" charset="-79"/>
                <a:sym typeface="+mn-lt"/>
              </a:rPr>
              <a:pPr algn="ctr">
                <a:spcAft>
                  <a:spcPct val="0"/>
                </a:spcAft>
              </a:pPr>
              <a:t>Restvärde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29" name="Rectangle 23">
            <a:extLst>
              <a:ext uri="{FF2B5EF4-FFF2-40B4-BE49-F238E27FC236}">
                <a16:creationId xmlns:a16="http://schemas.microsoft.com/office/drawing/2014/main" id="{88D3D9DD-A67A-F947-87AF-5C7B30FD4630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5078887" y="5081728"/>
            <a:ext cx="69850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A306D8CC-7902-4639-9162-59EC42964325}" type="datetime'Ne''''''''t''tonuvä''''rde'' in''ternränta på 5,''3%'''">
              <a:rPr lang="sv-SE" altLang="en-US" sz="800" smtClean="0">
                <a:cs typeface="Gill Sans Light" panose="020B0302020104020203" pitchFamily="34" charset="-79"/>
                <a:sym typeface="+mn-lt"/>
              </a:rPr>
              <a:pPr/>
              <a:t>Nettonuvärde internränta på 5,3%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390BD7-C5C6-174F-A6C2-44AD2A94259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256938" y="5676673"/>
            <a:ext cx="179388" cy="133350"/>
          </a:xfrm>
          <a:prstGeom prst="rect">
            <a:avLst/>
          </a:prstGeom>
          <a:solidFill>
            <a:srgbClr val="00777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66666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None/>
              <a:tabLst/>
            </a:pPr>
            <a:endParaRPr kumimoji="0" lang="sv-S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1" name="Rectangle 27">
            <a:extLst>
              <a:ext uri="{FF2B5EF4-FFF2-40B4-BE49-F238E27FC236}">
                <a16:creationId xmlns:a16="http://schemas.microsoft.com/office/drawing/2014/main" id="{9601CF77-BE09-3A42-94D2-62D6CA8506A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4207350" y="5676673"/>
            <a:ext cx="179388" cy="13335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66666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None/>
              <a:tabLst/>
            </a:pPr>
            <a:endParaRPr kumimoji="0" lang="sv-S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2" name="Rectangle 26">
            <a:extLst>
              <a:ext uri="{FF2B5EF4-FFF2-40B4-BE49-F238E27FC236}">
                <a16:creationId xmlns:a16="http://schemas.microsoft.com/office/drawing/2014/main" id="{34098BE9-AAB2-DF4C-B726-70DD5824FD21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5213825" y="5676673"/>
            <a:ext cx="179388" cy="133350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66666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None/>
              <a:tabLst/>
            </a:pPr>
            <a:endParaRPr kumimoji="0" lang="sv-S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3" name="Rectangle 28">
            <a:extLst>
              <a:ext uri="{FF2B5EF4-FFF2-40B4-BE49-F238E27FC236}">
                <a16:creationId xmlns:a16="http://schemas.microsoft.com/office/drawing/2014/main" id="{4DC6F248-0933-7647-BE27-B2C5D055B4A3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172675" y="5676673"/>
            <a:ext cx="179388" cy="133350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66666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Symbol" pitchFamily="18" charset="2"/>
              <a:buNone/>
              <a:tabLst/>
            </a:pPr>
            <a:endParaRPr kumimoji="0" lang="sv-S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4" name="Rectangle 30">
            <a:extLst>
              <a:ext uri="{FF2B5EF4-FFF2-40B4-BE49-F238E27FC236}">
                <a16:creationId xmlns:a16="http://schemas.microsoft.com/office/drawing/2014/main" id="{DB497903-1FF2-4643-A15D-A3ABCC25167D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4437538" y="5671910"/>
            <a:ext cx="674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7CE600E0-500B-4679-8DB8-F338103883D0}" type="datetime'''''''''''''In''''''v''''''es''''''''te''''r''''i''''n''''''g'">
              <a:rPr lang="sv-SE" altLang="en-US" sz="1000" smtClean="0">
                <a:cs typeface="Gill Sans" panose="020B0502020104020203" pitchFamily="34" charset="-79"/>
                <a:sym typeface="+mn-lt"/>
              </a:rPr>
              <a:pPr>
                <a:spcAft>
                  <a:spcPct val="0"/>
                </a:spcAft>
              </a:pPr>
              <a:t>Investering</a:t>
            </a:fld>
            <a:endParaRPr lang="sv-SE" sz="1000" dirty="0">
              <a:cs typeface="Gill Sans" panose="020B0502020104020203" pitchFamily="34" charset="-79"/>
              <a:sym typeface="+mn-lt"/>
            </a:endParaRPr>
          </a:p>
        </p:txBody>
      </p:sp>
      <p:sp>
        <p:nvSpPr>
          <p:cNvPr id="35" name="Rectangle 32">
            <a:extLst>
              <a:ext uri="{FF2B5EF4-FFF2-40B4-BE49-F238E27FC236}">
                <a16:creationId xmlns:a16="http://schemas.microsoft.com/office/drawing/2014/main" id="{3FAEB67E-53EC-464E-B289-9925FFF8593E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444013" y="5671910"/>
            <a:ext cx="627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8FA6070D-E309-4128-A9A7-37A9380E6116}" type="datetime'''''''''''''''''Kos''''t''''na''''''''''''''de''''r'">
              <a:rPr lang="sv-SE" altLang="en-US" sz="1000" smtClean="0">
                <a:cs typeface="Gill Sans" panose="020B0502020104020203" pitchFamily="34" charset="-79"/>
                <a:sym typeface="+mn-lt"/>
              </a:rPr>
              <a:pPr>
                <a:spcAft>
                  <a:spcPct val="0"/>
                </a:spcAft>
              </a:pPr>
              <a:t>Kostnader</a:t>
            </a:fld>
            <a:endParaRPr lang="sv-SE" sz="1000" dirty="0">
              <a:cs typeface="Gill Sans" panose="020B0502020104020203" pitchFamily="34" charset="-79"/>
              <a:sym typeface="+mn-lt"/>
            </a:endParaRPr>
          </a:p>
        </p:txBody>
      </p:sp>
      <p:sp>
        <p:nvSpPr>
          <p:cNvPr id="36" name="Rectangle 33">
            <a:extLst>
              <a:ext uri="{FF2B5EF4-FFF2-40B4-BE49-F238E27FC236}">
                <a16:creationId xmlns:a16="http://schemas.microsoft.com/office/drawing/2014/main" id="{D0A0CB8D-BA53-A44E-AE4E-27B8E1ADD259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402863" y="5671910"/>
            <a:ext cx="752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762B0AFC-BDA7-4C62-840A-81DAC82DF89C}" type="datetime'''''''''''F''inan''si''''erin''''''''''g'''''''''">
              <a:rPr lang="sv-SE" altLang="en-US" sz="1000" smtClean="0">
                <a:cs typeface="Gill Sans" panose="020B0502020104020203" pitchFamily="34" charset="-79"/>
                <a:sym typeface="+mn-lt"/>
              </a:rPr>
              <a:pPr>
                <a:spcAft>
                  <a:spcPct val="0"/>
                </a:spcAft>
              </a:pPr>
              <a:t>Finansiering</a:t>
            </a:fld>
            <a:endParaRPr lang="sv-SE" sz="1000" dirty="0">
              <a:cs typeface="Gill Sans" panose="020B0502020104020203" pitchFamily="34" charset="-79"/>
              <a:sym typeface="+mn-lt"/>
            </a:endParaRPr>
          </a:p>
        </p:txBody>
      </p:sp>
      <p:sp>
        <p:nvSpPr>
          <p:cNvPr id="37" name="Rectangle 31">
            <a:extLst>
              <a:ext uri="{FF2B5EF4-FFF2-40B4-BE49-F238E27FC236}">
                <a16:creationId xmlns:a16="http://schemas.microsoft.com/office/drawing/2014/main" id="{DD7CF8E6-D221-224E-AA25-CBC9445BB6DC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7487125" y="5671910"/>
            <a:ext cx="817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>
              <a:spcAft>
                <a:spcPct val="0"/>
              </a:spcAft>
            </a:pPr>
            <a:fld id="{5CB081D2-07AB-404A-A250-C2F5AAAF7D8D}" type="datetime'''''''''N''''''''et''to''n''''''''u''''vä''r''''''''''d''e'''">
              <a:rPr lang="sv-SE" altLang="en-US" sz="1000" smtClean="0">
                <a:cs typeface="Gill Sans" panose="020B0502020104020203" pitchFamily="34" charset="-79"/>
                <a:sym typeface="+mn-lt"/>
              </a:rPr>
              <a:pPr>
                <a:spcAft>
                  <a:spcPct val="0"/>
                </a:spcAft>
              </a:pPr>
              <a:t>Nettonuvärde</a:t>
            </a:fld>
            <a:endParaRPr lang="sv-SE" sz="1000" dirty="0">
              <a:cs typeface="Gill Sans" panose="020B0502020104020203" pitchFamily="34" charset="-79"/>
              <a:sym typeface="+mn-lt"/>
            </a:endParaRPr>
          </a:p>
        </p:txBody>
      </p:sp>
      <p:sp>
        <p:nvSpPr>
          <p:cNvPr id="38" name="Content Placeholder 12">
            <a:extLst>
              <a:ext uri="{FF2B5EF4-FFF2-40B4-BE49-F238E27FC236}">
                <a16:creationId xmlns:a16="http://schemas.microsoft.com/office/drawing/2014/main" id="{A127BE20-B654-9743-91A2-C5A45D37C7E7}"/>
              </a:ext>
            </a:extLst>
          </p:cNvPr>
          <p:cNvSpPr txBox="1">
            <a:spLocks/>
          </p:cNvSpPr>
          <p:nvPr/>
        </p:nvSpPr>
        <p:spPr>
          <a:xfrm>
            <a:off x="992223" y="1890825"/>
            <a:ext cx="4785163" cy="3425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sv-SE" sz="1200" b="1" dirty="0" err="1">
                <a:cs typeface="Gill Sans SemiBold" panose="020B0502020104020203" pitchFamily="34" charset="-79"/>
              </a:rPr>
              <a:t>Gränsbanan</a:t>
            </a:r>
            <a:br>
              <a:rPr lang="sv-SE" sz="1200" b="1" dirty="0">
                <a:cs typeface="Gill Sans SemiBold" panose="020B0502020104020203" pitchFamily="34" charset="-79"/>
              </a:rPr>
            </a:br>
            <a:r>
              <a:rPr lang="sv-SE" altLang="en-US" sz="800" dirty="0">
                <a:cs typeface="Gill Sans Light" panose="020B0302020104020203" pitchFamily="34" charset="-79"/>
                <a:sym typeface="+mn-lt"/>
              </a:rPr>
              <a:t>Miljarder SEK</a:t>
            </a:r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39" name="Content Placeholder 24">
            <a:extLst>
              <a:ext uri="{FF2B5EF4-FFF2-40B4-BE49-F238E27FC236}">
                <a16:creationId xmlns:a16="http://schemas.microsoft.com/office/drawing/2014/main" id="{DB08EDF6-9C59-A243-9761-11D658DD2F37}"/>
              </a:ext>
            </a:extLst>
          </p:cNvPr>
          <p:cNvSpPr txBox="1">
            <a:spLocks/>
          </p:cNvSpPr>
          <p:nvPr/>
        </p:nvSpPr>
        <p:spPr>
          <a:xfrm>
            <a:off x="6536990" y="1890825"/>
            <a:ext cx="4782766" cy="34254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sv-SE" sz="1200" b="1" dirty="0" err="1">
                <a:cs typeface="Gill Sans SemiBold" panose="020B0502020104020203" pitchFamily="34" charset="-79"/>
              </a:rPr>
              <a:t>Gränsbanan</a:t>
            </a:r>
            <a:r>
              <a:rPr lang="sv-SE" sz="1200" b="1" dirty="0">
                <a:cs typeface="Gill Sans SemiBold" panose="020B0502020104020203" pitchFamily="34" charset="-79"/>
              </a:rPr>
              <a:t> + Nobelbanan</a:t>
            </a:r>
            <a:br>
              <a:rPr lang="sv-SE" sz="1200" b="1" dirty="0">
                <a:cs typeface="Gill Sans SemiBold" panose="020B0502020104020203" pitchFamily="34" charset="-79"/>
              </a:rPr>
            </a:br>
            <a:r>
              <a:rPr lang="sv-SE" altLang="en-US" sz="800" dirty="0">
                <a:cs typeface="Gill Sans Light" panose="020B0302020104020203" pitchFamily="34" charset="-79"/>
                <a:sym typeface="+mn-lt"/>
              </a:rPr>
              <a:t>Miljarder SEK</a:t>
            </a:r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cxnSp>
        <p:nvCxnSpPr>
          <p:cNvPr id="40" name="Straight Connector 43">
            <a:extLst>
              <a:ext uri="{FF2B5EF4-FFF2-40B4-BE49-F238E27FC236}">
                <a16:creationId xmlns:a16="http://schemas.microsoft.com/office/drawing/2014/main" id="{125E2597-22B7-B64A-8572-02890B7FE9E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7752644" y="4586460"/>
            <a:ext cx="3016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Straight Connector 42">
            <a:extLst>
              <a:ext uri="{FF2B5EF4-FFF2-40B4-BE49-F238E27FC236}">
                <a16:creationId xmlns:a16="http://schemas.microsoft.com/office/drawing/2014/main" id="{0BC2E3CA-E548-AC4F-8B69-6A8CE66B107E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7070019" y="4478510"/>
            <a:ext cx="303213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Straight Connector 44">
            <a:extLst>
              <a:ext uri="{FF2B5EF4-FFF2-40B4-BE49-F238E27FC236}">
                <a16:creationId xmlns:a16="http://schemas.microsoft.com/office/drawing/2014/main" id="{7A1FE3F5-4851-A84B-8FA5-6170656594E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8433681" y="4675360"/>
            <a:ext cx="303213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Straight Connector 45">
            <a:extLst>
              <a:ext uri="{FF2B5EF4-FFF2-40B4-BE49-F238E27FC236}">
                <a16:creationId xmlns:a16="http://schemas.microsoft.com/office/drawing/2014/main" id="{6A6A0780-AC86-B941-8EB6-8B158F9F0A2B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9116306" y="5040485"/>
            <a:ext cx="3016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Straight Connector 46">
            <a:extLst>
              <a:ext uri="{FF2B5EF4-FFF2-40B4-BE49-F238E27FC236}">
                <a16:creationId xmlns:a16="http://schemas.microsoft.com/office/drawing/2014/main" id="{5B455E04-988E-9F4F-82E7-9CE2A76CB567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9797344" y="2873548"/>
            <a:ext cx="303213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Straight Connector 47">
            <a:extLst>
              <a:ext uri="{FF2B5EF4-FFF2-40B4-BE49-F238E27FC236}">
                <a16:creationId xmlns:a16="http://schemas.microsoft.com/office/drawing/2014/main" id="{B3F53FFC-9B35-234C-9C3D-4B63C232B8D7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10479969" y="2690985"/>
            <a:ext cx="30162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46" name="Chart 62">
            <a:extLst>
              <a:ext uri="{FF2B5EF4-FFF2-40B4-BE49-F238E27FC236}">
                <a16:creationId xmlns:a16="http://schemas.microsoft.com/office/drawing/2014/main" id="{005F2C06-FF0B-3340-B992-60B0DC04186C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17902720"/>
              </p:ext>
            </p:extLst>
          </p:nvPr>
        </p:nvGraphicFramePr>
        <p:xfrm>
          <a:off x="6136569" y="2054398"/>
          <a:ext cx="5259387" cy="3165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47" name="Rectangle 49">
            <a:extLst>
              <a:ext uri="{FF2B5EF4-FFF2-40B4-BE49-F238E27FC236}">
                <a16:creationId xmlns:a16="http://schemas.microsoft.com/office/drawing/2014/main" id="{48861B3C-E919-9047-AC75-3596272A68FA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9417931" y="3062460"/>
            <a:ext cx="379413" cy="34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48" name="Rectangle 56">
            <a:extLst>
              <a:ext uri="{FF2B5EF4-FFF2-40B4-BE49-F238E27FC236}">
                <a16:creationId xmlns:a16="http://schemas.microsoft.com/office/drawing/2014/main" id="{1014A292-0264-4742-B84B-6C043B133FEB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8838494" y="478172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19BC31B-CBFD-4BA1-8981-2455273A02D8}" type="datetime'''''''1''''''''''''''''''''''''''''''''''0'''''">
              <a:rPr lang="sv-SE" altLang="en-US" sz="1000" b="1" smtClean="0">
                <a:solidFill>
                  <a:schemeClr val="bg1"/>
                </a:solidFill>
              </a:rPr>
              <a:pPr/>
              <a:t>10</a:t>
            </a:fld>
            <a:endParaRPr lang="sv-SE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00A323F-A59D-EC48-B447-78AFDD28C51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125827" y="1828319"/>
            <a:ext cx="8223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20389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9"/>
              </a:spcAft>
              <a:buFont typeface="Arial" panose="020B0604020202020204" pitchFamily="34" charset="0"/>
              <a:buNone/>
              <a:defRPr sz="14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20389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9"/>
              </a:spcAft>
              <a:buFont typeface="Arial" panose="020B0604020202020204" pitchFamily="34" charset="0"/>
              <a:buNone/>
              <a:defRPr sz="14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20389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9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4588" indent="-207501" algn="l" defTabSz="20389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9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7784" indent="-208680" algn="l" defTabSz="20389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9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15285" indent="-207501" algn="l" defTabSz="20389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9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8352" indent="-208680" algn="l" defTabSz="20389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9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21264" indent="-207501" algn="l" defTabSz="20389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9"/>
              </a:spcAft>
              <a:buClr>
                <a:schemeClr val="bg2"/>
              </a:buClr>
              <a:buFont typeface="Arial" panose="020B0604020202020204" pitchFamily="34" charset="0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892" indent="0" algn="l" defTabSz="20389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9"/>
              </a:spcAft>
              <a:buClr>
                <a:schemeClr val="bg2"/>
              </a:buClr>
              <a:buSzPct val="80000"/>
              <a:buFont typeface="Wingdings" panose="05000000000000000000" pitchFamily="2" charset="2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endParaRPr lang="sv-SE" sz="1000" b="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50" name="Rectangle 57">
            <a:extLst>
              <a:ext uri="{FF2B5EF4-FFF2-40B4-BE49-F238E27FC236}">
                <a16:creationId xmlns:a16="http://schemas.microsoft.com/office/drawing/2014/main" id="{7BED3249-3667-F04F-A4E1-56259BE0A5E0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7155744" y="5081729"/>
            <a:ext cx="8128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0E114DE1-E95A-4D5C-841D-C7526F7FB2EC}" type="datetime'''''Re''''i''''''n''''''''''''ves''ter''''''in''g''''''a''''r'">
              <a:rPr lang="sv-SE" altLang="en-US" sz="800" smtClean="0">
                <a:cs typeface="Gill Sans Light" panose="020B0302020104020203" pitchFamily="34" charset="-79"/>
                <a:sym typeface="+mn-lt"/>
              </a:rPr>
              <a:pPr/>
              <a:t>Reinvesteringar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51" name="Rectangle 53">
            <a:extLst>
              <a:ext uri="{FF2B5EF4-FFF2-40B4-BE49-F238E27FC236}">
                <a16:creationId xmlns:a16="http://schemas.microsoft.com/office/drawing/2014/main" id="{F36B847E-DA31-F342-949B-FDEC45788CE3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6596944" y="5081728"/>
            <a:ext cx="5651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29494D1-F0DF-419F-9883-68F82C2F4A7F}" type="datetime'''''I''n''''''it''''ia''l'' i''''nv''est''er''''in''g'''">
              <a:rPr lang="sv-SE" altLang="en-US" sz="800" smtClean="0">
                <a:cs typeface="Gill Sans Light" panose="020B0302020104020203" pitchFamily="34" charset="-79"/>
                <a:sym typeface="+mn-lt"/>
              </a:rPr>
              <a:pPr/>
              <a:t>Initial investering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52" name="Rectangle 54">
            <a:extLst>
              <a:ext uri="{FF2B5EF4-FFF2-40B4-BE49-F238E27FC236}">
                <a16:creationId xmlns:a16="http://schemas.microsoft.com/office/drawing/2014/main" id="{3DA71BB9-76E9-004F-92F5-1FE4EA771146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7509756" y="4456285"/>
            <a:ext cx="104775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CD7E259F-6450-4892-B0C3-26DD18FD6F97}" type="datetime'''3'''''''''''''''''''''''''''''''''''''''''''''">
              <a:rPr lang="sv-SE" altLang="en-US" sz="1000" b="1" smtClean="0">
                <a:solidFill>
                  <a:schemeClr val="bg1"/>
                </a:solidFill>
              </a:rPr>
              <a:pPr/>
              <a:t>3</a:t>
            </a:fld>
            <a:endParaRPr lang="sv-SE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3" name="Rectangle 55">
            <a:extLst>
              <a:ext uri="{FF2B5EF4-FFF2-40B4-BE49-F238E27FC236}">
                <a16:creationId xmlns:a16="http://schemas.microsoft.com/office/drawing/2014/main" id="{C66922DF-A51D-B742-A299-F4F05D42CEFE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8789281" y="5081729"/>
            <a:ext cx="273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F2460089-01C2-4E8D-8454-64C1707484A6}" type="datetime'S''''''''''''ka''''''''''''''''''''''''''''''''t''''''t'''''">
              <a:rPr lang="sv-SE" altLang="en-US" sz="800" smtClean="0">
                <a:cs typeface="Gill Sans Light" panose="020B0302020104020203" pitchFamily="34" charset="-79"/>
                <a:sym typeface="+mn-lt"/>
              </a:rPr>
              <a:pPr/>
              <a:t>Skatt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54" name="Rectangle 51">
            <a:extLst>
              <a:ext uri="{FF2B5EF4-FFF2-40B4-BE49-F238E27FC236}">
                <a16:creationId xmlns:a16="http://schemas.microsoft.com/office/drawing/2014/main" id="{3990F0D2-EF9B-EC43-9A15-169A21F78683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8190794" y="4554710"/>
            <a:ext cx="10477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8F269036-BB51-4CD0-BE5E-0A0ED3A42932}" type="datetime'''''''''2'''''''''''''''''">
              <a:rPr lang="sv-SE" altLang="en-US" sz="1000" b="1" smtClean="0">
                <a:solidFill>
                  <a:schemeClr val="bg1"/>
                </a:solidFill>
              </a:rPr>
              <a:pPr/>
              <a:t>2</a:t>
            </a:fld>
            <a:endParaRPr lang="sv-SE" sz="1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5" name="Rectangle 50">
            <a:extLst>
              <a:ext uri="{FF2B5EF4-FFF2-40B4-BE49-F238E27FC236}">
                <a16:creationId xmlns:a16="http://schemas.microsoft.com/office/drawing/2014/main" id="{14727A40-A214-4544-AE89-2B98C288E07F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7722481" y="5081728"/>
            <a:ext cx="10414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50F4418F-9A90-4B64-9870-580B0799BD22}" type="datetime'Dr''''''if''t''- o''ch un''d''erhå''llsk''''os''tnade''''r'">
              <a:rPr lang="sv-SE" altLang="en-US" sz="800" smtClean="0">
                <a:cs typeface="Gill Sans Light" panose="020B0302020104020203" pitchFamily="34" charset="-79"/>
                <a:sym typeface="+mn-lt"/>
              </a:rPr>
              <a:pPr/>
              <a:t>Drift- och underhållskostnader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56" name="Rectangle 58">
            <a:extLst>
              <a:ext uri="{FF2B5EF4-FFF2-40B4-BE49-F238E27FC236}">
                <a16:creationId xmlns:a16="http://schemas.microsoft.com/office/drawing/2014/main" id="{C5E3ACE1-B9DF-3B48-9219-4D16CD6260F7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9519531" y="388002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EE2F30D9-8B7C-4CC6-89AD-36A053534E6C}" type="datetime'''''''''''''5''''''''''''''''''''''''8'">
              <a:rPr lang="sv-SE" altLang="en-US" sz="1000" b="1" smtClean="0"/>
              <a:pPr/>
              <a:t>58</a:t>
            </a:fld>
            <a:endParaRPr lang="sv-SE" sz="1000" b="1" dirty="0">
              <a:sym typeface="+mn-lt"/>
            </a:endParaRPr>
          </a:p>
        </p:txBody>
      </p:sp>
      <p:sp>
        <p:nvSpPr>
          <p:cNvPr id="57" name="Rectangle 59">
            <a:extLst>
              <a:ext uri="{FF2B5EF4-FFF2-40B4-BE49-F238E27FC236}">
                <a16:creationId xmlns:a16="http://schemas.microsoft.com/office/drawing/2014/main" id="{8C3D765E-46B7-CF47-A8EC-F6F10B889D89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9409994" y="5081729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7F95B12-63B6-4510-AC01-C57D722ABD06}" type="datetime'''''''I''''''nt''''ä''k''''t''''''''''''''''''e''''r'''''''''">
              <a:rPr lang="sv-SE" altLang="en-US" sz="800" smtClean="0">
                <a:cs typeface="Gill Sans Light" panose="020B0302020104020203" pitchFamily="34" charset="-79"/>
                <a:sym typeface="+mn-lt"/>
              </a:rPr>
              <a:pPr/>
              <a:t>Intäkter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58" name="Rectangle 60">
            <a:extLst>
              <a:ext uri="{FF2B5EF4-FFF2-40B4-BE49-F238E27FC236}">
                <a16:creationId xmlns:a16="http://schemas.microsoft.com/office/drawing/2014/main" id="{5DA8FF20-2DCF-2E4A-BA91-FB9D446B8C1A}"/>
              </a:ext>
            </a:extLst>
          </p:cNvPr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10022769" y="5081729"/>
            <a:ext cx="533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4F7CE047-8530-41FA-82E1-F7A7C76DDEBA}" type="datetime'''Re''''''''s''''tv''ä''r''''''''d''''''e'''''''''">
              <a:rPr lang="sv-SE" altLang="en-US" sz="800" smtClean="0">
                <a:cs typeface="Gill Sans Light" panose="020B0302020104020203" pitchFamily="34" charset="-79"/>
                <a:sym typeface="+mn-lt"/>
              </a:rPr>
              <a:pPr/>
              <a:t>Restvärde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59" name="Rectangle 61">
            <a:extLst>
              <a:ext uri="{FF2B5EF4-FFF2-40B4-BE49-F238E27FC236}">
                <a16:creationId xmlns:a16="http://schemas.microsoft.com/office/drawing/2014/main" id="{19EB2176-DEB3-1746-B623-EBA73CCD9174}"/>
              </a:ext>
            </a:extLst>
          </p:cNvPr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10621256" y="5081729"/>
            <a:ext cx="69850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tx2"/>
              </a:buClr>
              <a:buFont typeface="Symbol" pitchFamily="18" charset="2"/>
              <a:tabLst>
                <a:tab pos="1257300" algn="l"/>
                <a:tab pos="2514600" algn="l"/>
                <a:tab pos="3771900" algn="l"/>
                <a:tab pos="4667250" algn="l"/>
                <a:tab pos="5562600" algn="l"/>
                <a:tab pos="6819900" algn="l"/>
                <a:tab pos="8077200" algn="l"/>
              </a:tabLst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Symbol" pitchFamily="18" charset="2"/>
              <a:buChar char="·"/>
              <a:defRPr>
                <a:solidFill>
                  <a:schemeClr val="tx1"/>
                </a:solidFill>
                <a:latin typeface="+mn-lt"/>
              </a:defRPr>
            </a:lvl2pPr>
            <a:lvl3pPr marL="539750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5351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6pPr>
            <a:lvl7pPr marL="19923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7pPr>
            <a:lvl8pPr marL="24495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8pPr>
            <a:lvl9pPr marL="2906713" indent="-268288" algn="l" rtl="0" eaLnBrk="1" fontAlgn="base" hangingPunct="1">
              <a:spcBef>
                <a:spcPct val="0"/>
              </a:spcBef>
              <a:spcAft>
                <a:spcPct val="50000"/>
              </a:spcAft>
              <a:buClr>
                <a:srgbClr val="737377"/>
              </a:buClr>
              <a:buFont typeface="Arial" charset="0"/>
              <a:buChar char="–"/>
              <a:defRPr>
                <a:solidFill>
                  <a:srgbClr val="737377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fld id="{27CB39FB-B477-46BD-8236-CE64A337FD06}" type="datetime'''Nettonuvär''''d''e ''i''n''''t''''''ernränt''a på'''' 3,7%'">
              <a:rPr lang="sv-SE" altLang="en-US" sz="800" smtClean="0">
                <a:cs typeface="Gill Sans Light" panose="020B0302020104020203" pitchFamily="34" charset="-79"/>
                <a:sym typeface="+mn-lt"/>
              </a:rPr>
              <a:pPr/>
              <a:t>Nettonuvärde internränta på 3,7%</a:t>
            </a:fld>
            <a:endParaRPr lang="sv-SE" sz="800" dirty="0">
              <a:cs typeface="Gill Sans Light" panose="020B0302020104020203" pitchFamily="34" charset="-79"/>
              <a:sym typeface="+mn-lt"/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6FD81CFD-D9C7-7744-8B5C-E891A28CBDF8}"/>
              </a:ext>
            </a:extLst>
          </p:cNvPr>
          <p:cNvSpPr txBox="1"/>
          <p:nvPr/>
        </p:nvSpPr>
        <p:spPr>
          <a:xfrm rot="664622">
            <a:off x="4558188" y="3529184"/>
            <a:ext cx="999650" cy="646331"/>
          </a:xfrm>
          <a:prstGeom prst="rect">
            <a:avLst/>
          </a:prstGeom>
          <a:solidFill>
            <a:srgbClr val="AFCB38"/>
          </a:solidFill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138 SEK</a:t>
            </a:r>
          </a:p>
          <a:p>
            <a:r>
              <a:rPr lang="sv-SE" dirty="0">
                <a:solidFill>
                  <a:schemeClr val="bg1"/>
                </a:solidFill>
              </a:rPr>
              <a:t>per resa</a:t>
            </a:r>
          </a:p>
        </p:txBody>
      </p:sp>
      <p:sp>
        <p:nvSpPr>
          <p:cNvPr id="60" name="textruta 59">
            <a:extLst>
              <a:ext uri="{FF2B5EF4-FFF2-40B4-BE49-F238E27FC236}">
                <a16:creationId xmlns:a16="http://schemas.microsoft.com/office/drawing/2014/main" id="{8F0A385D-E14C-5D44-A848-C7584521A1AD}"/>
              </a:ext>
            </a:extLst>
          </p:cNvPr>
          <p:cNvSpPr txBox="1"/>
          <p:nvPr/>
        </p:nvSpPr>
        <p:spPr>
          <a:xfrm rot="664622">
            <a:off x="10121661" y="3529183"/>
            <a:ext cx="999650" cy="646331"/>
          </a:xfrm>
          <a:prstGeom prst="rect">
            <a:avLst/>
          </a:prstGeom>
          <a:solidFill>
            <a:srgbClr val="AFCB38"/>
          </a:solidFill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265 SEK</a:t>
            </a:r>
          </a:p>
          <a:p>
            <a:r>
              <a:rPr lang="sv-SE" dirty="0">
                <a:solidFill>
                  <a:schemeClr val="bg1"/>
                </a:solidFill>
              </a:rPr>
              <a:t>per resa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B92BCF3C-2CB0-014A-AE11-CAD08B4DC28A}"/>
              </a:ext>
            </a:extLst>
          </p:cNvPr>
          <p:cNvSpPr txBox="1"/>
          <p:nvPr/>
        </p:nvSpPr>
        <p:spPr>
          <a:xfrm rot="16200000">
            <a:off x="4850640" y="2335906"/>
            <a:ext cx="1159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5,3 %</a:t>
            </a:r>
          </a:p>
        </p:txBody>
      </p:sp>
      <p:sp>
        <p:nvSpPr>
          <p:cNvPr id="61" name="textruta 60">
            <a:extLst>
              <a:ext uri="{FF2B5EF4-FFF2-40B4-BE49-F238E27FC236}">
                <a16:creationId xmlns:a16="http://schemas.microsoft.com/office/drawing/2014/main" id="{3716B448-0089-2F4D-9AB0-1D654CF622B2}"/>
              </a:ext>
            </a:extLst>
          </p:cNvPr>
          <p:cNvSpPr txBox="1"/>
          <p:nvPr/>
        </p:nvSpPr>
        <p:spPr>
          <a:xfrm rot="16200000">
            <a:off x="10397733" y="2356905"/>
            <a:ext cx="1159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3,7</a:t>
            </a:r>
            <a:r>
              <a:rPr lang="sv-SE" dirty="0"/>
              <a:t> </a:t>
            </a:r>
          </a:p>
        </p:txBody>
      </p:sp>
      <p:sp>
        <p:nvSpPr>
          <p:cNvPr id="62" name="textruta 61">
            <a:extLst>
              <a:ext uri="{FF2B5EF4-FFF2-40B4-BE49-F238E27FC236}">
                <a16:creationId xmlns:a16="http://schemas.microsoft.com/office/drawing/2014/main" id="{F75632CB-3109-A24D-AF50-A4283C0759E3}"/>
              </a:ext>
            </a:extLst>
          </p:cNvPr>
          <p:cNvSpPr txBox="1"/>
          <p:nvPr/>
        </p:nvSpPr>
        <p:spPr>
          <a:xfrm rot="664622">
            <a:off x="1872512" y="2702308"/>
            <a:ext cx="3328017" cy="1754326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sv-SE" sz="3600" dirty="0">
                <a:solidFill>
                  <a:schemeClr val="bg1"/>
                </a:solidFill>
              </a:rPr>
              <a:t>Lånefinansiering</a:t>
            </a:r>
          </a:p>
          <a:p>
            <a:r>
              <a:rPr lang="sv-SE" sz="7200" dirty="0">
                <a:solidFill>
                  <a:schemeClr val="bg1"/>
                </a:solidFill>
              </a:rPr>
              <a:t>65 SEK</a:t>
            </a:r>
          </a:p>
        </p:txBody>
      </p:sp>
      <p:sp>
        <p:nvSpPr>
          <p:cNvPr id="64" name="textruta 63">
            <a:extLst>
              <a:ext uri="{FF2B5EF4-FFF2-40B4-BE49-F238E27FC236}">
                <a16:creationId xmlns:a16="http://schemas.microsoft.com/office/drawing/2014/main" id="{F41D89B8-719F-934B-8AFE-9015F29100C0}"/>
              </a:ext>
            </a:extLst>
          </p:cNvPr>
          <p:cNvSpPr txBox="1"/>
          <p:nvPr/>
        </p:nvSpPr>
        <p:spPr>
          <a:xfrm rot="664622">
            <a:off x="7419380" y="2698342"/>
            <a:ext cx="3328017" cy="1754326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sv-SE" sz="3600" dirty="0">
                <a:solidFill>
                  <a:schemeClr val="bg1"/>
                </a:solidFill>
              </a:rPr>
              <a:t>Lånefinansiering</a:t>
            </a:r>
          </a:p>
          <a:p>
            <a:r>
              <a:rPr lang="sv-SE" sz="7200" dirty="0">
                <a:solidFill>
                  <a:schemeClr val="bg1"/>
                </a:solidFill>
              </a:rPr>
              <a:t>122 SEK</a:t>
            </a:r>
          </a:p>
        </p:txBody>
      </p:sp>
    </p:spTree>
    <p:extLst>
      <p:ext uri="{BB962C8B-B14F-4D97-AF65-F5344CB8AC3E}">
        <p14:creationId xmlns:p14="http://schemas.microsoft.com/office/powerpoint/2010/main" val="2701412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9EE1932-6718-E445-A40B-6F67866AF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Oslo-Stockholm </a:t>
            </a:r>
            <a:r>
              <a:rPr lang="en-GB" dirty="0" err="1">
                <a:latin typeface="+mn-lt"/>
              </a:rPr>
              <a:t>kan</a:t>
            </a:r>
            <a:r>
              <a:rPr lang="en-GB" dirty="0">
                <a:latin typeface="+mn-lt"/>
              </a:rPr>
              <a:t> </a:t>
            </a:r>
            <a:r>
              <a:rPr lang="en-GB" dirty="0" err="1">
                <a:latin typeface="+mn-lt"/>
              </a:rPr>
              <a:t>stå</a:t>
            </a:r>
            <a:r>
              <a:rPr lang="en-GB" dirty="0">
                <a:latin typeface="+mn-lt"/>
              </a:rPr>
              <a:t> </a:t>
            </a:r>
            <a:r>
              <a:rPr lang="en-GB" dirty="0" err="1">
                <a:latin typeface="+mn-lt"/>
              </a:rPr>
              <a:t>klart</a:t>
            </a:r>
            <a:r>
              <a:rPr lang="en-GB" dirty="0">
                <a:latin typeface="+mn-lt"/>
              </a:rPr>
              <a:t> 2035 om…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A951C63-9361-CF45-9533-3596BE4BD6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sv-SE" dirty="0">
                <a:latin typeface="+mj-lt"/>
                <a:cs typeface="Gill Sans Light" panose="020B0302020104020203" pitchFamily="34" charset="-79"/>
              </a:rPr>
              <a:t>…Norge startar en utredning för en ny </a:t>
            </a:r>
            <a:r>
              <a:rPr lang="sv-SE" dirty="0" err="1">
                <a:latin typeface="+mj-lt"/>
                <a:cs typeface="Gill Sans Light" panose="020B0302020104020203" pitchFamily="34" charset="-79"/>
              </a:rPr>
              <a:t>Gränsbana</a:t>
            </a:r>
            <a:r>
              <a:rPr lang="sv-SE" dirty="0">
                <a:latin typeface="+mj-lt"/>
                <a:cs typeface="Gill Sans Light" panose="020B0302020104020203" pitchFamily="34" charset="-79"/>
              </a:rPr>
              <a:t>.</a:t>
            </a:r>
            <a:br>
              <a:rPr lang="sv-SE" dirty="0">
                <a:latin typeface="+mj-lt"/>
                <a:cs typeface="Gill Sans Light" panose="020B0302020104020203" pitchFamily="34" charset="-79"/>
              </a:rPr>
            </a:br>
            <a:r>
              <a:rPr lang="sv-SE" i="1" dirty="0">
                <a:latin typeface="+mj-lt"/>
                <a:cs typeface="Gill Sans Light" panose="020B0302020104020203" pitchFamily="34" charset="-79"/>
              </a:rPr>
              <a:t>Trafikverket i Sverige är redan klara med </a:t>
            </a:r>
            <a:r>
              <a:rPr lang="sv-SE" i="1" dirty="0" err="1">
                <a:latin typeface="+mj-lt"/>
                <a:cs typeface="Gill Sans Light" panose="020B0302020104020203" pitchFamily="34" charset="-79"/>
              </a:rPr>
              <a:t>ÅVSen</a:t>
            </a:r>
            <a:r>
              <a:rPr lang="sv-SE" i="1" dirty="0">
                <a:latin typeface="+mj-lt"/>
                <a:cs typeface="Gill Sans Light" panose="020B0302020104020203" pitchFamily="34" charset="-79"/>
              </a:rPr>
              <a:t> (jmf KVU).</a:t>
            </a:r>
          </a:p>
          <a:p>
            <a:pPr marL="0" indent="0">
              <a:buNone/>
            </a:pPr>
            <a:r>
              <a:rPr lang="sv-SE" dirty="0">
                <a:latin typeface="+mj-lt"/>
                <a:cs typeface="Gill Sans Light" panose="020B0302020104020203" pitchFamily="34" charset="-79"/>
              </a:rPr>
              <a:t>…Norge och/eller Sverige undersöker finansieringsmöjligheterna för en ny </a:t>
            </a:r>
            <a:r>
              <a:rPr lang="sv-SE" dirty="0" err="1">
                <a:latin typeface="+mj-lt"/>
                <a:cs typeface="Gill Sans Light" panose="020B0302020104020203" pitchFamily="34" charset="-79"/>
              </a:rPr>
              <a:t>Gränsbanan</a:t>
            </a:r>
            <a:r>
              <a:rPr lang="sv-SE" dirty="0">
                <a:latin typeface="+mj-lt"/>
                <a:cs typeface="Gill Sans Light" panose="020B0302020104020203" pitchFamily="34" charset="-79"/>
              </a:rPr>
              <a:t>. </a:t>
            </a:r>
            <a:r>
              <a:rPr lang="sv-SE" i="1" dirty="0">
                <a:latin typeface="+mj-lt"/>
                <a:cs typeface="Gill Sans Light" panose="020B0302020104020203" pitchFamily="34" charset="-79"/>
              </a:rPr>
              <a:t>Näringslivet väntar.</a:t>
            </a:r>
          </a:p>
          <a:p>
            <a:pPr marL="0" indent="0">
              <a:buNone/>
            </a:pPr>
            <a:r>
              <a:rPr lang="sv-SE" dirty="0">
                <a:latin typeface="+mj-lt"/>
                <a:cs typeface="Gill Sans Light" panose="020B0302020104020203" pitchFamily="34" charset="-79"/>
              </a:rPr>
              <a:t>…den Norska och den Svenska regeringen tydligare prioriterar infrastruktur över gränsen mellan Sverige och Norge. </a:t>
            </a:r>
            <a:r>
              <a:rPr lang="sv-SE" i="1" dirty="0">
                <a:latin typeface="+mj-lt"/>
                <a:cs typeface="Gill Sans Light" panose="020B0302020104020203" pitchFamily="34" charset="-79"/>
              </a:rPr>
              <a:t>Nordiska Triangeln</a:t>
            </a:r>
          </a:p>
          <a:p>
            <a:pPr marL="0" indent="0">
              <a:buNone/>
            </a:pPr>
            <a:r>
              <a:rPr lang="sv-SE" dirty="0">
                <a:latin typeface="+mj-lt"/>
                <a:cs typeface="Gill Sans Light" panose="020B0302020104020203" pitchFamily="34" charset="-79"/>
              </a:rPr>
              <a:t>…om Oslo, Viken och/eller Osloregionen aktivt deltar i arbetet. </a:t>
            </a:r>
            <a:br>
              <a:rPr lang="sv-SE" dirty="0">
                <a:latin typeface="+mj-lt"/>
                <a:cs typeface="Gill Sans Light" panose="020B0302020104020203" pitchFamily="34" charset="-79"/>
              </a:rPr>
            </a:br>
            <a:r>
              <a:rPr lang="sv-SE" i="1" dirty="0">
                <a:latin typeface="+mj-lt"/>
                <a:cs typeface="Gill Sans Light" panose="020B0302020104020203" pitchFamily="34" charset="-79"/>
              </a:rPr>
              <a:t>Region Stockholm har redan beslutat att engagera sig i projektet.</a:t>
            </a:r>
          </a:p>
          <a:p>
            <a:pPr marL="0" indent="0">
              <a:buNone/>
            </a:pPr>
            <a:r>
              <a:rPr lang="sv-SE" dirty="0">
                <a:latin typeface="+mj-lt"/>
                <a:cs typeface="Gill Sans Light" panose="020B0302020104020203" pitchFamily="34" charset="-79"/>
              </a:rPr>
              <a:t>…förslag 4 (K5.1) i </a:t>
            </a:r>
            <a:r>
              <a:rPr lang="sv-SE" dirty="0" err="1">
                <a:latin typeface="+mj-lt"/>
                <a:cs typeface="Gill Sans Light" panose="020B0302020104020203" pitchFamily="34" charset="-79"/>
              </a:rPr>
              <a:t>KVUn</a:t>
            </a:r>
            <a:r>
              <a:rPr lang="sv-SE" dirty="0">
                <a:latin typeface="+mj-lt"/>
                <a:cs typeface="Gill Sans Light" panose="020B0302020104020203" pitchFamily="34" charset="-79"/>
              </a:rPr>
              <a:t> för Kongsvingerbanan kan vare att första steg...</a:t>
            </a:r>
            <a:endParaRPr lang="sv-SE" b="1" dirty="0">
              <a:latin typeface="+mj-lt"/>
              <a:cs typeface="Gill Sans Light" panose="020B0302020104020203" pitchFamily="34" charset="-79"/>
            </a:endParaRPr>
          </a:p>
          <a:p>
            <a:pPr marL="0" indent="0">
              <a:buNone/>
            </a:pPr>
            <a:endParaRPr lang="sv-SE" dirty="0">
              <a:latin typeface="+mj-lt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38422044-B149-324D-8DDE-00750A316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31783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8503FBFC-FEDB-E046-B7F8-6F6A7733DD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234319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227B80A-A9F1-B24C-B043-6F0922B6DC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07174"/>
            <a:ext cx="9144000" cy="1336024"/>
          </a:xfrm>
        </p:spPr>
        <p:txBody>
          <a:bodyPr>
            <a:normAutofit/>
          </a:bodyPr>
          <a:lstStyle/>
          <a:p>
            <a:r>
              <a:rPr lang="en-GB" sz="4400" dirty="0">
                <a:solidFill>
                  <a:schemeClr val="bg1"/>
                </a:solidFill>
              </a:rPr>
              <a:t>www.oslo-sthlm.se</a:t>
            </a:r>
            <a:br>
              <a:rPr lang="en-GB" sz="4400" dirty="0">
                <a:solidFill>
                  <a:schemeClr val="bg1"/>
                </a:solidFill>
              </a:rPr>
            </a:br>
            <a:r>
              <a:rPr lang="en-GB" sz="1800" dirty="0">
                <a:solidFill>
                  <a:schemeClr val="bg1"/>
                </a:solidFill>
              </a:rPr>
              <a:t>for more information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59CA4EA-AC5F-C74C-8E29-0F8DC570A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67C6ED-00CC-A943-985C-7BDD8E296189}" type="slidenum">
              <a:rPr lang="en-GB" noProof="0" smtClean="0"/>
              <a:t>8</a:t>
            </a:fld>
            <a:endParaRPr lang="en-GB" noProof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FCAD1249-AF2C-D543-830F-8669853EA6B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552" y="3907708"/>
            <a:ext cx="1398202" cy="2125721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9" name="textruta 8">
            <a:extLst>
              <a:ext uri="{FF2B5EF4-FFF2-40B4-BE49-F238E27FC236}">
                <a16:creationId xmlns:a16="http://schemas.microsoft.com/office/drawing/2014/main" id="{2C7ABEB3-BC95-C247-833C-5E4094C8590F}"/>
              </a:ext>
            </a:extLst>
          </p:cNvPr>
          <p:cNvSpPr txBox="1"/>
          <p:nvPr/>
        </p:nvSpPr>
        <p:spPr>
          <a:xfrm>
            <a:off x="1813197" y="4946057"/>
            <a:ext cx="55335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Gill Sans" panose="020B0502020104020203" pitchFamily="34" charset="-79"/>
                <a:cs typeface="Gill Sans" panose="020B0502020104020203" pitchFamily="34" charset="-79"/>
              </a:rPr>
              <a:t>Evaluated according to Agenda 2030</a:t>
            </a:r>
            <a:br>
              <a:rPr lang="en-GB" dirty="0">
                <a:latin typeface="Gill Sans" panose="020B0502020104020203" pitchFamily="34" charset="-79"/>
                <a:cs typeface="Gill Sans" panose="020B0502020104020203" pitchFamily="34" charset="-79"/>
              </a:rPr>
            </a:br>
            <a:r>
              <a:rPr lang="en-GB" dirty="0">
                <a:latin typeface="Gill Sans Light" panose="020B0302020104020203" pitchFamily="34" charset="-79"/>
                <a:cs typeface="Gill Sans Light" panose="020B0302020104020203" pitchFamily="34" charset="-79"/>
              </a:rPr>
              <a:t>"Overall, Oslo-</a:t>
            </a:r>
            <a:r>
              <a:rPr lang="en-GB" dirty="0" err="1">
                <a:latin typeface="Gill Sans Light" panose="020B0302020104020203" pitchFamily="34" charset="-79"/>
                <a:cs typeface="Gill Sans Light" panose="020B0302020104020203" pitchFamily="34" charset="-79"/>
              </a:rPr>
              <a:t>Sthlm</a:t>
            </a:r>
            <a:r>
              <a:rPr lang="en-GB" dirty="0">
                <a:latin typeface="Gill Sans Light" panose="020B0302020104020203" pitchFamily="34" charset="-79"/>
                <a:cs typeface="Gill Sans Light" panose="020B0302020104020203" pitchFamily="34" charset="-79"/>
              </a:rPr>
              <a:t> 2.55 is expected to have major positive effects on the social and economic </a:t>
            </a:r>
            <a:br>
              <a:rPr lang="en-GB" dirty="0">
                <a:latin typeface="Gill Sans Light" panose="020B0302020104020203" pitchFamily="34" charset="-79"/>
                <a:cs typeface="Gill Sans Light" panose="020B0302020104020203" pitchFamily="34" charset="-79"/>
              </a:rPr>
            </a:br>
            <a:r>
              <a:rPr lang="en-GB" dirty="0">
                <a:latin typeface="Gill Sans Light" panose="020B0302020104020203" pitchFamily="34" charset="-79"/>
                <a:cs typeface="Gill Sans Light" panose="020B0302020104020203" pitchFamily="34" charset="-79"/>
              </a:rPr>
              <a:t>dimensions of sustainability and climate"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C4A81055-7F74-B640-9410-C9F88AA74458}"/>
              </a:ext>
            </a:extLst>
          </p:cNvPr>
          <p:cNvSpPr txBox="1"/>
          <p:nvPr/>
        </p:nvSpPr>
        <p:spPr>
          <a:xfrm rot="558864">
            <a:off x="2116742" y="3827207"/>
            <a:ext cx="2426914" cy="646331"/>
          </a:xfrm>
          <a:prstGeom prst="rect">
            <a:avLst/>
          </a:prstGeom>
          <a:solidFill>
            <a:srgbClr val="AFCB38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/>
              <a:t>Reduce 60 000 ton CO</a:t>
            </a:r>
            <a:r>
              <a:rPr lang="en-GB" baseline="-25000" dirty="0"/>
              <a:t>2</a:t>
            </a:r>
            <a:r>
              <a:rPr lang="en-GB" dirty="0"/>
              <a:t> per year from air only</a:t>
            </a:r>
          </a:p>
        </p:txBody>
      </p:sp>
    </p:spTree>
    <p:extLst>
      <p:ext uri="{BB962C8B-B14F-4D97-AF65-F5344CB8AC3E}">
        <p14:creationId xmlns:p14="http://schemas.microsoft.com/office/powerpoint/2010/main" val="294674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AKIJHd9LT1jilRXWhq8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L.BrkRsjnMvZunuRoU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KV4tnaG8NOXivb4nkZ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wem0l7OBc0qvCF3z0d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VTV50Kzdb3cHb2Uwm8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ubRCxvD5ZHeWlHKqZr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y8BbjOUHxljMMtjljW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DAJmEZGSXt.fhYgBh3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2QfOJEVHxQh8hClKM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FnVq1xKB.NOY02JhvS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XGOpRuOvhl2ifmgD81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0S9V4d55bwESZxHvEmW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7OCABeYyjYNvTeGxGu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afdHK.fsF7Iqkb.G5S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G64u11afHOaWq8R2Fy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v2FoiQ2C591FtDlCFZ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A0YpEBAX9GBGoYNbgp0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b2qa7aEfZuiEgmfC44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7bpk09por5A47nS6cSd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HV13UmL2OwSfqXO01W7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GXuYzM_r87mmw9yURW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H8WfIURuFi.rL_GTh8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JJ8Jg9_nkh7aQw_1oL5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bBzkCXV1cpkBgSvXKW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Uf9ZPUsaEnTa6lPVt.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y9AVyr3HdGkovQ6wrl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YsdYSoDxRy.4bZixlR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U_YnXALsbnm6HPap0g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cBdw2E78j4BM4FD1v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kHck5fE3ojjk5X0mI9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Hp_4HEmhMZYBDBp3n0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NRBVeg_ImpOuNRl_st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wI1NXbx8aj.dNmzbfO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UzLw2cVW_8n3HwdAga8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ZYU2ERvdrJFCr8UqfO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GQpc1YhNO7vja4MPP3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grKU2T4ppCOVeY933_p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Z5qye6usStt9aElpqX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LmHjO3dBlW8gCMXgUH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LwpK3d4wdjb.m1nP1_.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_mppA48zFVGQEas6rW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UDUj18XiESS7CpdlaG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2oj3XQ97.Z0HAwieHr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I6iueVVxq9BpLHtKRi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FxEy.gElpTHz1_b.Yt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psQ_wdrkYtZ2lvKFYX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HCF59r2vJ44HWHDjG3lQ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3CB9F08E-2001-EB45-A5C9-6ADFEB0C7093}" vid="{6E5D24AF-160E-0343-8959-0B4511504D5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4E1DAAA1DEF7C4B83FB876681F490A0" ma:contentTypeVersion="4" ma:contentTypeDescription="Opprett et nytt dokument." ma:contentTypeScope="" ma:versionID="0dd3971af4cdf73c4e571ba75e345f8c">
  <xsd:schema xmlns:xsd="http://www.w3.org/2001/XMLSchema" xmlns:xs="http://www.w3.org/2001/XMLSchema" xmlns:p="http://schemas.microsoft.com/office/2006/metadata/properties" xmlns:ns2="646e8f64-4764-4dbf-b2f3-70763edbc5e7" targetNamespace="http://schemas.microsoft.com/office/2006/metadata/properties" ma:root="true" ma:fieldsID="d7a346927a0ab49bf839c0c642123b2a" ns2:_="">
    <xsd:import namespace="646e8f64-4764-4dbf-b2f3-70763edbc5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6e8f64-4764-4dbf-b2f3-70763edbc5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053931E-0F33-4D50-980C-38F7213ABA24}"/>
</file>

<file path=customXml/itemProps2.xml><?xml version="1.0" encoding="utf-8"?>
<ds:datastoreItem xmlns:ds="http://schemas.openxmlformats.org/officeDocument/2006/customXml" ds:itemID="{C9DA80DC-F31D-421B-A678-01D3D970C417}">
  <ds:schemaRefs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75bea66c-39d3-462d-acfd-b7f6d4d6ef06"/>
    <ds:schemaRef ds:uri="http://schemas.microsoft.com/office/2006/documentManagement/types"/>
    <ds:schemaRef ds:uri="http://purl.org/dc/dcmitype/"/>
    <ds:schemaRef ds:uri="http://purl.org/dc/elements/1.1/"/>
    <ds:schemaRef ds:uri="http://www.w3.org/XML/1998/namespace"/>
    <ds:schemaRef ds:uri="http://purl.org/dc/terms/"/>
    <ds:schemaRef ds:uri="355aef42-6bdd-4828-bc0d-6a84bd436493"/>
  </ds:schemaRefs>
</ds:datastoreItem>
</file>

<file path=customXml/itemProps3.xml><?xml version="1.0" encoding="utf-8"?>
<ds:datastoreItem xmlns:ds="http://schemas.openxmlformats.org/officeDocument/2006/customXml" ds:itemID="{89934527-A9AA-4B0A-BCCD-332F27C0934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-tema</Template>
  <TotalTime>175878</TotalTime>
  <Words>400</Words>
  <Application>Microsoft Macintosh PowerPoint</Application>
  <PresentationFormat>Bredbild</PresentationFormat>
  <Paragraphs>115</Paragraphs>
  <Slides>8</Slides>
  <Notes>8</Notes>
  <HiddenSlides>0</HiddenSlides>
  <MMClips>0</MMClips>
  <ScaleCrop>false</ScaleCrop>
  <HeadingPairs>
    <vt:vector size="6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1</vt:i4>
      </vt:variant>
      <vt:variant>
        <vt:lpstr>Bildrubriker</vt:lpstr>
      </vt:variant>
      <vt:variant>
        <vt:i4>8</vt:i4>
      </vt:variant>
    </vt:vector>
  </HeadingPairs>
  <TitlesOfParts>
    <vt:vector size="16" baseType="lpstr">
      <vt:lpstr>Arial</vt:lpstr>
      <vt:lpstr>Calibri</vt:lpstr>
      <vt:lpstr>Calibri Light</vt:lpstr>
      <vt:lpstr>Gill Sans</vt:lpstr>
      <vt:lpstr>Gill Sans Light</vt:lpstr>
      <vt:lpstr>Gill Sans SemiBold</vt:lpstr>
      <vt:lpstr>Symbol</vt:lpstr>
      <vt:lpstr>Office-tema</vt:lpstr>
      <vt:lpstr>Skandinaviens mest lönsamma järnvägsprojekt</vt:lpstr>
      <vt:lpstr>PowerPoint-presentation</vt:lpstr>
      <vt:lpstr>PowerPoint-presentation</vt:lpstr>
      <vt:lpstr>PowerPoint-presentation</vt:lpstr>
      <vt:lpstr>PowerPoint-presentation</vt:lpstr>
      <vt:lpstr>Lönsamhet nya länkar - koncession</vt:lpstr>
      <vt:lpstr>Oslo-Stockholm kan stå klart 2035 om…</vt:lpstr>
      <vt:lpstr>www.oslo-sthlm.se for more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andinavia's most profitable railway project</dc:title>
  <dc:creator>Jonas Karlsson</dc:creator>
  <cp:lastModifiedBy>Jonas Karlsson</cp:lastModifiedBy>
  <cp:revision>206</cp:revision>
  <cp:lastPrinted>2020-10-07T11:12:19Z</cp:lastPrinted>
  <dcterms:created xsi:type="dcterms:W3CDTF">2019-10-21T09:10:35Z</dcterms:created>
  <dcterms:modified xsi:type="dcterms:W3CDTF">2020-10-23T07:5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E1DAAA1DEF7C4B83FB876681F490A0</vt:lpwstr>
  </property>
</Properties>
</file>